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14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4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5.xml" ContentType="application/vnd.openxmlformats-officedocument.theme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120_86DA3036.xml" ContentType="application/vnd.ms-powerpoint.comments+xml"/>
  <Override PartName="/ppt/notesSlides/notesSlide7.xml" ContentType="application/vnd.openxmlformats-officedocument.presentationml.notesSlide+xml"/>
  <Override PartName="/ppt/comments/modernComment_124_E097A586.xml" ContentType="application/vnd.ms-powerpoint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modernComment_125_774AEAAB.xml" ContentType="application/vnd.ms-powerpoint.comment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modernComment_118_527D1172.xml" ContentType="application/vnd.ms-powerpoint.comments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66" r:id="rId5"/>
    <p:sldMasterId id="2147483712" r:id="rId6"/>
    <p:sldMasterId id="2147483772" r:id="rId7"/>
    <p:sldMasterId id="2147483887" r:id="rId8"/>
  </p:sldMasterIdLst>
  <p:notesMasterIdLst>
    <p:notesMasterId r:id="rId24"/>
  </p:notesMasterIdLst>
  <p:sldIdLst>
    <p:sldId id="276" r:id="rId9"/>
    <p:sldId id="279" r:id="rId10"/>
    <p:sldId id="289" r:id="rId11"/>
    <p:sldId id="284" r:id="rId12"/>
    <p:sldId id="294" r:id="rId13"/>
    <p:sldId id="288" r:id="rId14"/>
    <p:sldId id="292" r:id="rId15"/>
    <p:sldId id="287" r:id="rId16"/>
    <p:sldId id="293" r:id="rId17"/>
    <p:sldId id="286" r:id="rId18"/>
    <p:sldId id="290" r:id="rId19"/>
    <p:sldId id="285" r:id="rId20"/>
    <p:sldId id="291" r:id="rId21"/>
    <p:sldId id="280" r:id="rId22"/>
    <p:sldId id="281" r:id="rId23"/>
  </p:sldIdLst>
  <p:sldSz cx="6858000" cy="9601200"/>
  <p:notesSz cx="6858000" cy="91440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8974903-5BEF-C8C1-D3B2-F1B14F046694}" name="Sharlene Hall" initials="SH" userId="S::shhall@helpathome.com::b77bfa25-6cc9-49e4-a9c6-58c918197fd5" providerId="AD"/>
  <p188:author id="{07D13415-F33A-D68E-2341-E328A7640CB7}" name="Hillary Darragh" initials="HD" userId="S::hdarragh@helpathome.com::fe5014e2-f27f-4ab4-bbbf-094d92728f78" providerId="AD"/>
  <p188:author id="{D8DBA635-D269-B0C0-E17B-6AB77E04E651}" name="Jake Ruetz" initials="JR" userId="S::jruetz@westmonroepartners.com::690b12f2-43fe-422b-9024-79096129b79f" providerId="AD"/>
  <p188:author id="{0F34D936-1A7C-45C6-FF18-064E21B7CCA2}" name="Katie Huxley" initials="KH" userId="S::khuxley@westmonroepartners.com::58a1f3a6-9ba2-4bb5-87a5-99212afdc393" providerId="AD"/>
  <p188:author id="{761E2459-77B3-9069-B9A9-C6827FEEE838}" name="Melissa Rankinen" initials="MR" userId="S::mrankinen@helpathome.com::d72a84aa-d12a-4f71-b0b8-b26e60f7f4d3" providerId="AD"/>
  <p188:author id="{CB0FF55D-0BA1-DBD4-2E50-A4A45C12D669}" name="Caroline Garand" initials="CG" userId="S::cgarand@helpathome.com::b9c42df1-9a38-4da7-bc0b-fe07c0e9062c" providerId="AD"/>
  <p188:author id="{A11BA567-C746-527C-FC6F-3857DE27077B}" name="Hannah Roark" initials="HR" userId="S::hroark@helpathome.com::6eba368d-0872-4692-a6c3-c66b89c3939f" providerId="AD"/>
  <p188:author id="{0CA5BA6D-3EFC-E081-E537-08A376FAEC77}" name="Mindy Au" initials="MA" userId="S::mau@helpathome.com::57dc90e5-d083-4302-ad9b-de24cf83e56d" providerId="AD"/>
  <p188:author id="{B8780686-23F8-BCA0-069D-EB77E59F1264}" name="Megan Lueders" initials="ML" userId="S::mlueders@helpathome.com::59b88f6d-325d-4648-b468-2e48bc7cb7da" providerId="AD"/>
  <p188:author id="{99916198-4A28-645D-7A0C-C0AD4D9C4263}" name="TYLER QUILLIN" initials="TQ" userId="S::tquillin@helpathome.com::4ba4016d-4640-4905-bc37-b844202ece54" providerId="AD"/>
  <p188:author id="{7C9BDB9F-B366-9036-8118-4276838C409B}" name="Kelsey Braak" initials="KB" userId="S::kbraak@westmonroepartners.com::2426fae8-cac4-4aa6-932e-0402376a194b" providerId="AD"/>
  <p188:author id="{E03E5FA9-4167-9DBB-267C-3992B050C8A9}" name="Coumba Kebe" initials="CK" userId="S::ckebe@helpathome.com::99ee8039-7985-4af1-b821-08c6486428c5" providerId="AD"/>
  <p188:author id="{021B9DAC-AB89-88A2-8A36-ADAEC7D5B0C7}" name="Lauren Keller" initials="LK" userId="S::lkeller@helpathome.com::4515ddbe-d17d-4b48-bafb-1c4e03778b15" providerId="AD"/>
  <p188:author id="{F2DD79B9-D109-8307-BE0A-5DFE5DBCB04E}" name="Christian Kerr" initials="CK" userId="S::ckerr@helpathome.com::4ffa99e1-ccad-4f45-bbda-b4c066d42526" providerId="AD"/>
  <p188:author id="{B65E57CB-1332-23FD-B6C4-15F336514AE4}" name="Jake Ruetz" initials="JR" userId="S::jruetz_westmonroe.com#ext#@cjinhelpathome324.onmicrosoft.com::326c548b-22e0-43af-adaf-868ef497a1c4" providerId="AD"/>
  <p188:author id="{3ADE0ED9-A709-D466-7A24-DDEBA36DFFB3}" name="Katherynne Dowman" initials="KD" userId="S::kdowman@helpathome.com::a3eade8a-32da-4a72-9feb-8e2c81114ae7" providerId="AD"/>
  <p188:author id="{27C539EB-FA03-67DF-8206-FBBDD5330B87}" name="Sharlene Hall" initials="SH" userId="Sharlene Hall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EDED"/>
    <a:srgbClr val="EEE9E4"/>
    <a:srgbClr val="F0F3F6"/>
    <a:srgbClr val="BCCC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228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/Relationships>
</file>

<file path=ppt/comments/modernComment_118_527D117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74F2026-7B84-4ADF-86C9-76072DEC806D}" authorId="{99916198-4A28-645D-7A0C-C0AD4D9C4263}" created="2025-01-03T17:11:41.06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83928178" sldId="280"/>
      <ac:grpSpMk id="15" creationId="{DA452558-951C-5150-3C66-C086C3CDE8C7}"/>
    </ac:deMkLst>
    <p188:replyLst>
      <p188:reply id="{EFABCBF3-E2C4-4828-A8E8-112F6263EA2D}" authorId="{99916198-4A28-645D-7A0C-C0AD4D9C4263}" created="2025-01-03T21:39:26.022">
        <p188:txBody>
          <a:bodyPr/>
          <a:lstStyle/>
          <a:p>
            <a:r>
              <a:rPr lang="en-US"/>
              <a:t>Completed</a:t>
            </a:r>
          </a:p>
        </p188:txBody>
      </p188:reply>
    </p188:replyLst>
    <p188:txBody>
      <a:bodyPr/>
      <a:lstStyle/>
      <a:p>
        <a:r>
          <a:rPr lang="en-US"/>
          <a:t>Need updated screenshot</a:t>
        </a:r>
      </a:p>
    </p188:txBody>
  </p188:cm>
</p188:cmLst>
</file>

<file path=ppt/comments/modernComment_120_86DA303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A7EF290-5710-4D46-882D-B8D9AE5B73AF}" authorId="{99916198-4A28-645D-7A0C-C0AD4D9C4263}" created="2025-01-03T17:12:57.553">
    <pc:sldMkLst xmlns:pc="http://schemas.microsoft.com/office/powerpoint/2013/main/command">
      <pc:docMk/>
      <pc:sldMk cId="2262446134" sldId="288"/>
    </pc:sldMkLst>
    <p188:replyLst>
      <p188:reply id="{7F7676A6-DFFE-4729-8893-1BD98817DC8A}" authorId="{99916198-4A28-645D-7A0C-C0AD4D9C4263}" created="2025-01-03T22:21:05.716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Need updated phone template screenshots</a:t>
        </a:r>
      </a:p>
    </p188:txBody>
  </p188:cm>
  <p188:cm id="{56BBC3B0-4B05-42E1-8DE6-139BDDE3A1A8}" authorId="{99916198-4A28-645D-7A0C-C0AD4D9C4263}" created="2025-01-03T17:13:25.617">
    <pc:sldMkLst xmlns:pc="http://schemas.microsoft.com/office/powerpoint/2013/main/command">
      <pc:docMk/>
      <pc:sldMk cId="2262446134" sldId="288"/>
    </pc:sldMkLst>
    <p188:replyLst>
      <p188:reply id="{BB0242C3-57B8-4039-858A-7C0A6EF220E0}" authorId="{99916198-4A28-645D-7A0C-C0AD4D9C4263}" created="2025-01-03T22:21:09.738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Update 2nd pic only, use explanation about where personal and shift preferences are. </a:t>
        </a:r>
      </a:p>
    </p188:txBody>
  </p188:cm>
</p188:cmLst>
</file>

<file path=ppt/comments/modernComment_124_E097A58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B716030-DA65-4694-BF43-0C0915155E29}" authorId="{99916198-4A28-645D-7A0C-C0AD4D9C4263}" created="2025-01-03T17:12:37.837">
    <pc:sldMkLst xmlns:pc="http://schemas.microsoft.com/office/powerpoint/2013/main/command">
      <pc:docMk/>
      <pc:sldMk cId="3768034694" sldId="292"/>
    </pc:sldMkLst>
    <p188:txBody>
      <a:bodyPr/>
      <a:lstStyle/>
      <a:p>
        <a:r>
          <a:rPr lang="en-US"/>
          <a:t>Need phone template screenshots</a:t>
        </a:r>
      </a:p>
    </p188:txBody>
  </p188:cm>
</p188:cmLst>
</file>

<file path=ppt/comments/modernComment_125_774AEAA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9344564-ACE9-4589-B2FB-65B1B17F5E3C}" authorId="{99916198-4A28-645D-7A0C-C0AD4D9C4263}" created="2025-01-03T17:12:18.655">
    <pc:sldMkLst xmlns:pc="http://schemas.microsoft.com/office/powerpoint/2013/main/command">
      <pc:docMk/>
      <pc:sldMk cId="2001398443" sldId="293"/>
    </pc:sldMkLst>
    <p188:txBody>
      <a:bodyPr/>
      <a:lstStyle/>
      <a:p>
        <a:r>
          <a:rPr lang="en-US"/>
          <a:t>Need phone template screenshots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76BF4-6FCE-411F-85ED-B93985CEF5F8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7275" y="1143000"/>
            <a:ext cx="22034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8CC4AE-7DE5-44D8-B6C4-7B5DC697B4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365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1916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/>
              <a:t>podać oddział, zmianę, dzień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03883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/>
              <a:t>podać oddział, zmianę, dzień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344390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421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865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3086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015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833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9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679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D5BC5E-08A4-E608-DC0D-0808E7E76C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84F72F-8F8B-1D92-72A4-8D1F1C35957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10A81BD-B137-3C4A-9F1B-E98E3F1CAD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225E6D-3E47-B904-17E9-8F0A6E428B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593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/>
              <a:t>Dodaj zrzut ekranu drukowania, pobierania itp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001331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DE07BD-CEA6-FDFD-27B9-FA9A6D071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ED12CB8-14A5-7185-7C2D-4356F5E5DA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9225AB-66A3-BF64-AA0B-E427FED03D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/>
              <a:t>Dodaj zrzut ekranu drukowania, pobierania itp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60CCDF-B305-CBF0-2402-8026748E555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21714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/>
              <a:t>Poprawić kwotę – $25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35120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D1E72-D840-84E2-DF70-FC4FD91B9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F63FBE5-49EA-89FE-B0EA-CE848E91EE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790168-C528-A52A-A922-0A0A2334F1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/>
              <a:t>Poprawić kwotę – $25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05D407-605C-CE9D-FFD2-7FB2BE1634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8CC4AE-7DE5-44D8-B6C4-7B5DC697B4B8}" type="slidenum">
              <a:rPr lang="en-US" smtClean="0"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96705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7" Type="http://schemas.openxmlformats.org/officeDocument/2006/relationships/image" Target="../media/image18.png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51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18.png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5" Type="http://schemas.openxmlformats.org/officeDocument/2006/relationships/tags" Target="../tags/tag274.xml"/><Relationship Id="rId4" Type="http://schemas.openxmlformats.org/officeDocument/2006/relationships/tags" Target="../tags/tag27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4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4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4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94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7" Type="http://schemas.openxmlformats.org/officeDocument/2006/relationships/image" Target="../media/image18.png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372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7" Type="http://schemas.openxmlformats.org/officeDocument/2006/relationships/image" Target="../media/image18.png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381.xml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84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93.xml"/><Relationship Id="rId7" Type="http://schemas.openxmlformats.org/officeDocument/2006/relationships/image" Target="../media/image18.pn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96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402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8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8.pn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18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22.png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0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4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5" Type="http://schemas.openxmlformats.org/officeDocument/2006/relationships/image" Target="../media/image12.png"/><Relationship Id="rId4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8.pn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image" Target="../media/image21.png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75DA427-734E-4542-89D3-EEAC499269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06" y="544342"/>
            <a:ext cx="2085975" cy="2684780"/>
          </a:xfrm>
          <a:prstGeom prst="rect">
            <a:avLst/>
          </a:prstGeom>
        </p:spPr>
      </p:pic>
      <p:sp>
        <p:nvSpPr>
          <p:cNvPr id="12" name="PTITLE">
            <a:extLst>
              <a:ext uri="{FF2B5EF4-FFF2-40B4-BE49-F238E27FC236}">
                <a16:creationId xmlns:a16="http://schemas.microsoft.com/office/drawing/2014/main" id="{F3B82A13-6E5D-584F-BA84-DD3A3448B1A1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3768472" y="1053280"/>
            <a:ext cx="2820607" cy="1437701"/>
          </a:xfrm>
          <a:prstGeom prst="rect">
            <a:avLst/>
          </a:prstGeom>
          <a:ln algn="ctr"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3114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nter Presentation Title Here</a:t>
            </a:r>
          </a:p>
        </p:txBody>
      </p:sp>
      <p:sp>
        <p:nvSpPr>
          <p:cNvPr id="13" name="PSUBTITLE">
            <a:extLst>
              <a:ext uri="{FF2B5EF4-FFF2-40B4-BE49-F238E27FC236}">
                <a16:creationId xmlns:a16="http://schemas.microsoft.com/office/drawing/2014/main" id="{EB7B88A3-E630-154E-8629-22F04CBF9A0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768471" y="2712058"/>
            <a:ext cx="2815209" cy="814325"/>
          </a:xfrm>
          <a:prstGeom prst="rect">
            <a:avLst/>
          </a:prstGeo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875"/>
              </a:spcBef>
              <a:buClr>
                <a:schemeClr val="tx2"/>
              </a:buClr>
              <a:buSzTx/>
              <a:buFont typeface="Wingdings" pitchFamily="2" charset="2"/>
              <a:buNone/>
              <a:defRPr sz="2646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2195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71221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74593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44412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168152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86152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78155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937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497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884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544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215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91444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84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357737"/>
            <a:ext cx="5922819" cy="658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432" b="1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2" name="SUBTITLE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603966"/>
            <a:ext cx="5922819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362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7" name="SECTIONHEADER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3429003" y="1321578"/>
            <a:ext cx="2961409" cy="214614"/>
          </a:xfrm>
          <a:prstGeom prst="rect">
            <a:avLst/>
          </a:prstGeom>
        </p:spPr>
        <p:txBody>
          <a:bodyPr wrap="none" lIns="0" tIns="36576" rIns="0" bIns="0"/>
          <a:lstStyle>
            <a:lvl1pPr algn="r">
              <a:buNone/>
              <a:defRPr sz="778" b="1">
                <a:solidFill>
                  <a:srgbClr val="00395C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/>
              <a:t>Section Header (used to create Tab Pages and Table of Contents)</a:t>
            </a:r>
          </a:p>
        </p:txBody>
      </p:sp>
      <p:sp>
        <p:nvSpPr>
          <p:cNvPr id="5" name="CONTENT_BODY"/>
          <p:cNvSpPr>
            <a:spLocks noGrp="1"/>
          </p:cNvSpPr>
          <p:nvPr>
            <p:ph sz="quarter" idx="19" hasCustomPrompt="1"/>
            <p:custDataLst>
              <p:tags r:id="rId4"/>
            </p:custDataLst>
          </p:nvPr>
        </p:nvSpPr>
        <p:spPr>
          <a:xfrm>
            <a:off x="467592" y="2067089"/>
            <a:ext cx="5922819" cy="6212541"/>
          </a:xfrm>
          <a:prstGeom prst="rect">
            <a:avLst/>
          </a:prstGeom>
        </p:spPr>
        <p:txBody>
          <a:bodyPr lIns="0" rIns="18288"/>
          <a:lstStyle/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FOOTNOTE"/>
          <p:cNvSpPr>
            <a:spLocks noGrp="1"/>
          </p:cNvSpPr>
          <p:nvPr>
            <p:ph type="body" sz="quarter" idx="25" hasCustomPrompt="1"/>
            <p:custDataLst>
              <p:tags r:id="rId5"/>
            </p:custDataLst>
          </p:nvPr>
        </p:nvSpPr>
        <p:spPr>
          <a:xfrm>
            <a:off x="467592" y="8674023"/>
            <a:ext cx="5922819" cy="410959"/>
          </a:xfrm>
          <a:prstGeom prst="rect">
            <a:avLst/>
          </a:prstGeom>
        </p:spPr>
        <p:txBody>
          <a:bodyPr lIns="0" tIns="18288" rIns="18288" bIns="18288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78" i="1">
                <a:solidFill>
                  <a:schemeClr val="tx1"/>
                </a:solidFill>
              </a:defRPr>
            </a:lvl1pPr>
            <a:lvl2pPr marL="0" indent="168346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778" i="1">
                <a:solidFill>
                  <a:schemeClr val="tx1"/>
                </a:solidFill>
              </a:defRPr>
            </a:lvl2pPr>
            <a:lvl3pPr marL="444795" indent="-22240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90000"/>
              <a:buFont typeface="+mj-lt"/>
              <a:buAutoNum type="alphaLcParenR"/>
              <a:defRPr sz="778" i="1">
                <a:solidFill>
                  <a:schemeClr val="tx1"/>
                </a:solidFill>
              </a:defRPr>
            </a:lvl3pPr>
            <a:lvl4pPr marL="668741" indent="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None/>
              <a:defRPr sz="778">
                <a:solidFill>
                  <a:schemeClr val="tx1"/>
                </a:solidFill>
              </a:defRPr>
            </a:lvl4pPr>
            <a:lvl5pPr marL="1223191" indent="-333596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+mj-lt"/>
              <a:buAutoNum type="alphaLcPeriod"/>
              <a:defRPr sz="778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________________________</a:t>
            </a:r>
          </a:p>
          <a:p>
            <a:pPr lvl="0"/>
            <a:r>
              <a:rPr lang="en-US"/>
              <a:t>Source:</a:t>
            </a:r>
          </a:p>
          <a:p>
            <a:pPr lvl="1"/>
            <a:r>
              <a:rPr lang="en-US"/>
              <a:t>Footnotes</a:t>
            </a:r>
          </a:p>
        </p:txBody>
      </p:sp>
      <p:sp>
        <p:nvSpPr>
          <p:cNvPr id="8" name="PAGENUMBER">
            <a:extLst>
              <a:ext uri="{FF2B5EF4-FFF2-40B4-BE49-F238E27FC236}">
                <a16:creationId xmlns:a16="http://schemas.microsoft.com/office/drawing/2014/main" id="{F9530200-9D55-4CD7-9136-220782A2B11D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2630978" y="8900882"/>
            <a:ext cx="1602279" cy="50829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69"/>
            </a:lvl1pPr>
          </a:lstStyle>
          <a:p>
            <a:pPr lvl="0"/>
            <a:r>
              <a:rPr lang="en-US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922979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ustom Layout">
  <p:cSld name="16_Custom Layou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gd9aae3edd8_0_159"/>
          <p:cNvSpPr txBox="1">
            <a:spLocks noGrp="1"/>
          </p:cNvSpPr>
          <p:nvPr>
            <p:ph type="title"/>
          </p:nvPr>
        </p:nvSpPr>
        <p:spPr>
          <a:xfrm>
            <a:off x="293445" y="1292469"/>
            <a:ext cx="5915025" cy="1259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646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" name="Google Shape;21;gd9aae3edd8_0_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22557" y="530975"/>
            <a:ext cx="1147397" cy="552238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gd9aae3edd8_0_159"/>
          <p:cNvSpPr txBox="1">
            <a:spLocks noGrp="1"/>
          </p:cNvSpPr>
          <p:nvPr>
            <p:ph type="sldNum" idx="12"/>
          </p:nvPr>
        </p:nvSpPr>
        <p:spPr>
          <a:xfrm>
            <a:off x="6417590" y="8866388"/>
            <a:ext cx="411581" cy="7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143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2295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risp 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F11449E-0F8D-4CCF-B9E3-B6BCF28C0D77}"/>
              </a:ext>
            </a:extLst>
          </p:cNvPr>
          <p:cNvSpPr/>
          <p:nvPr userDrawn="1"/>
        </p:nvSpPr>
        <p:spPr>
          <a:xfrm>
            <a:off x="0" y="0"/>
            <a:ext cx="6858000" cy="75064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323" tIns="58162" rIns="116323" bIns="581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289"/>
          </a:p>
        </p:txBody>
      </p:sp>
    </p:spTree>
    <p:extLst>
      <p:ext uri="{BB962C8B-B14F-4D97-AF65-F5344CB8AC3E}">
        <p14:creationId xmlns:p14="http://schemas.microsoft.com/office/powerpoint/2010/main" val="29620120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72574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7005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38362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53270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752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117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58099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0387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13"/>
            <a:ext cx="3504010" cy="5951186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327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5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85844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74"/>
            <a:ext cx="3530411" cy="610655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177314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95933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3" y="2106938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44969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9" y="2000258"/>
            <a:ext cx="3307783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36877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2" y="2196850"/>
            <a:ext cx="3650456" cy="6368671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92856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1" y="2093596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343538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97064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8927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52394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8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77960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8"/>
            <a:ext cx="3504010" cy="595118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76913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1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43635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40" y="2321174"/>
            <a:ext cx="3530411" cy="610655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3120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91555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8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523399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2" y="2000258"/>
            <a:ext cx="3307783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59294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50"/>
            <a:ext cx="3650456" cy="636867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67244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68949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9024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48423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688847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9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6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9" y="2878273"/>
            <a:ext cx="2109516" cy="5731039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103128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936120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70528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019606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51969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238434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63394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8974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0756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06159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375251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1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622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3" y="1571107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92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60"/>
            <a:ext cx="755957" cy="1149236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2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8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042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4" y="2312217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60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227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10"/>
            <a:ext cx="902091" cy="5600794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864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2" y="170696"/>
            <a:ext cx="5330027" cy="521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20"/>
            <a:ext cx="5386837" cy="8267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3" y="1928275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3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3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239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38" y="0"/>
            <a:ext cx="6242585" cy="1137920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39AEEFF-49A6-CA4B-BB32-9BA60B1AB3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709" y="1593097"/>
            <a:ext cx="6243111" cy="7040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223895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 userDrawn="1"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31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9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04570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05"/>
            <a:ext cx="3504010" cy="595118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92602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EB17DC4-A61D-4EAF-B65E-78495FD85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4F6DF7C-3D05-4715-9DDF-81D51EDD6D99}"/>
              </a:ext>
            </a:extLst>
          </p:cNvPr>
          <p:cNvCxnSpPr>
            <a:cxnSpLocks/>
          </p:cNvCxnSpPr>
          <p:nvPr userDrawn="1"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76C9382-B3F0-4998-B4CA-778BC6FC11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519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3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034816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69"/>
            <a:ext cx="3530411" cy="61065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358612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53798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375DA427-734E-4542-89D3-EEAC499269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48" y="407182"/>
            <a:ext cx="2085975" cy="2684780"/>
          </a:xfrm>
          <a:prstGeom prst="rect">
            <a:avLst/>
          </a:prstGeom>
        </p:spPr>
      </p:pic>
      <p:sp>
        <p:nvSpPr>
          <p:cNvPr id="12" name="PTITLE">
            <a:extLst>
              <a:ext uri="{FF2B5EF4-FFF2-40B4-BE49-F238E27FC236}">
                <a16:creationId xmlns:a16="http://schemas.microsoft.com/office/drawing/2014/main" id="{F3B82A13-6E5D-584F-BA84-DD3A3448B1A1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3768473" y="1052897"/>
            <a:ext cx="2820606" cy="1438086"/>
          </a:xfrm>
          <a:prstGeom prst="rect">
            <a:avLst/>
          </a:prstGeom>
          <a:ln algn="ctr"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Enter Presentation Title Here</a:t>
            </a:r>
          </a:p>
        </p:txBody>
      </p:sp>
      <p:sp>
        <p:nvSpPr>
          <p:cNvPr id="13" name="PSUBTITLE">
            <a:extLst>
              <a:ext uri="{FF2B5EF4-FFF2-40B4-BE49-F238E27FC236}">
                <a16:creationId xmlns:a16="http://schemas.microsoft.com/office/drawing/2014/main" id="{EB7B88A3-E630-154E-8629-22F04CBF9A0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768473" y="2712058"/>
            <a:ext cx="2815209" cy="814325"/>
          </a:xfrm>
          <a:prstGeom prst="rect">
            <a:avLst/>
          </a:prstGeom>
        </p:spPr>
        <p:txBody>
          <a:bodyPr wrap="square" lIns="18288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876"/>
              </a:spcBef>
              <a:buClr>
                <a:schemeClr val="tx2"/>
              </a:buClr>
              <a:buSzTx/>
              <a:buFont typeface="Wingdings" pitchFamily="2" charset="2"/>
              <a:buNone/>
              <a:defRPr sz="2646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6244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1" y="2106936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84375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7" y="2000256"/>
            <a:ext cx="3307782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02525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1" y="2196845"/>
            <a:ext cx="3650456" cy="6368670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950170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2" y="2093595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631499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8055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813552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06587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0"/>
            <a:ext cx="3504010" cy="5951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80985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0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46717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7" y="2321169"/>
            <a:ext cx="3530411" cy="610655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4200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5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88637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2344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6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86050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1" y="2000256"/>
            <a:ext cx="3307782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04816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45"/>
            <a:ext cx="3650456" cy="6368670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21198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294537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32661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90411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5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13594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885488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901525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3771329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421857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07622" y="938789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868423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757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5990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0128B2B5-82A1-3448-BFB7-CF2B82325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7DE922-6484-7F42-B8C8-EADA73FE23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AD0AC13-DFCD-AC47-90BE-7A7D8C0566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73862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8281AF6-71F5-1F4F-A5CF-FDB80397FF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3ED509-1B5D-DC4C-B89C-8007004D0E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0B48914C-2D4C-2446-98B4-5E029602CB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2438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0347639-ACB8-C24F-86BB-2DC198FE7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EAAD61F-F912-384C-944A-CB4FF1C00E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4" name="Picture 1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C4C5B6C6-95F3-214E-958A-6FEF1CEFB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30652-A3F9-E74F-9F4D-18332E0648D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5CFA8A31-CCB9-F249-8FCC-5B4C1F73EB3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92948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0755F79C-25F9-C243-A264-E04EFC41F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5" name="Picture 14" descr="A picture containing icon&#10;&#10;Description automatically generated">
            <a:extLst>
              <a:ext uri="{FF2B5EF4-FFF2-40B4-BE49-F238E27FC236}">
                <a16:creationId xmlns:a16="http://schemas.microsoft.com/office/drawing/2014/main" id="{B9E4F544-13FE-4749-90A6-1A6FDB204A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0D2115-FD71-8A43-A626-1888D776010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3A204263-3063-0549-8048-8A97E1458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7855774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54D66C8-1FFE-E54B-850C-848AD03BF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E9CB234-D20A-924A-BDF2-518C78FBE0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D3F28F2-8E5F-924B-8573-38B37FCB071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AA3A209-835E-A04A-81CA-DA9FFF764C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19967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eft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C61A3AC-8C2C-494A-BB65-FB0C8E703E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Icon&#10;&#10;Description automatically generated with medium confidence">
            <a:extLst>
              <a:ext uri="{FF2B5EF4-FFF2-40B4-BE49-F238E27FC236}">
                <a16:creationId xmlns:a16="http://schemas.microsoft.com/office/drawing/2014/main" id="{AB280D7A-EF33-4644-968C-D30835E77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485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CC5F6D90-6C63-A04F-86C2-AA52673319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890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7C55C66-D2CE-6642-81CA-049497B833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8C54222-97E6-AD40-96B7-899B9B9187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63B7AC5-65BE-2C4D-9D6A-B125A59C3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9494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45056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5A382068-DF6F-7540-BAEA-33BEC6FE1B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DC6A4A51-DFE2-4643-A79B-E61A283E5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642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A893435-86FB-F441-A795-2B71DF76C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42FD914-B426-3C48-A32C-AA65D19904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242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6AB402DA-56C6-AA43-8828-19A7125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3718" b="386"/>
          <a:stretch/>
        </p:blipFill>
        <p:spPr>
          <a:xfrm>
            <a:off x="5622133" y="1868591"/>
            <a:ext cx="1235869" cy="688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01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07FD818D-191E-4F44-8E94-ABAA037BD212}"/>
              </a:ext>
            </a:extLst>
          </p:cNvPr>
          <p:cNvSpPr/>
          <p:nvPr/>
        </p:nvSpPr>
        <p:spPr bwMode="auto">
          <a:xfrm>
            <a:off x="828104" y="960120"/>
            <a:ext cx="519494" cy="1292962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20163" bIns="20163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008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544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PTITLE">
            <a:extLst>
              <a:ext uri="{FF2B5EF4-FFF2-40B4-BE49-F238E27FC236}">
                <a16:creationId xmlns:a16="http://schemas.microsoft.com/office/drawing/2014/main" id="{F4A6EB66-C643-EE4A-9275-461B7AA287A7}"/>
              </a:ext>
            </a:extLst>
          </p:cNvPr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1478632" y="902528"/>
            <a:ext cx="2615597" cy="1438086"/>
          </a:xfrm>
          <a:prstGeom prst="rect">
            <a:avLst/>
          </a:prstGeom>
          <a:ln algn="ctr"/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31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Divider Slide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88C367-D4F0-B04D-A598-A83BE1F8E0A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4397" y="924565"/>
            <a:ext cx="442913" cy="12646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292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6980549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5E6F6-A378-CB41-AFB4-E61F1C4F0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11" y="2293308"/>
            <a:ext cx="6242585" cy="6316509"/>
          </a:xfrm>
        </p:spPr>
        <p:txBody>
          <a:bodyPr>
            <a:normAutofit/>
          </a:bodyPr>
          <a:lstStyle>
            <a:lvl1pPr>
              <a:defRPr sz="235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873399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AF6B90-AC1D-9144-BDC5-CDF264934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29E56A-9925-0546-B797-F78D41600F4F}"/>
              </a:ext>
            </a:extLst>
          </p:cNvPr>
          <p:cNvCxnSpPr>
            <a:cxnSpLocks/>
          </p:cNvCxnSpPr>
          <p:nvPr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CAD665B-C7C1-E54C-BF2E-18C758DA7C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283316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55E6F6-A378-CB41-AFB4-E61F1C4F0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7711" y="2293308"/>
            <a:ext cx="6242585" cy="6316509"/>
          </a:xfrm>
        </p:spPr>
        <p:txBody>
          <a:bodyPr>
            <a:normAutofit/>
          </a:bodyPr>
          <a:lstStyle>
            <a:lvl1pPr>
              <a:defRPr sz="2352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AF50D5-3A29-4A5D-BFD3-173EBA6F32E2}"/>
              </a:ext>
            </a:extLst>
          </p:cNvPr>
          <p:cNvSpPr/>
          <p:nvPr userDrawn="1"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9DC78D6-1931-4E12-BC49-D4D59CC21E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8197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46938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Master – Uneven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301497"/>
            <a:ext cx="1965528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3970" y="2301503"/>
            <a:ext cx="4046325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4092540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AF6B90-AC1D-9144-BDC5-CDF264934A8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6012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65C9EE8-A82D-8B48-9FD8-7B0CF910CB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2014" y="4737343"/>
            <a:ext cx="5250107" cy="2884052"/>
          </a:xfrm>
        </p:spPr>
        <p:txBody>
          <a:bodyPr anchor="t">
            <a:noAutofit/>
          </a:bodyPr>
          <a:lstStyle>
            <a:lvl1pPr algn="l">
              <a:defRPr sz="7644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686FBAA-8840-BB49-8DB3-36925FD1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2014" y="7979664"/>
            <a:ext cx="5303446" cy="802749"/>
          </a:xfrm>
        </p:spPr>
        <p:txBody>
          <a:bodyPr anchor="t">
            <a:normAutofit/>
          </a:bodyPr>
          <a:lstStyle>
            <a:lvl1pPr marL="0" indent="0" algn="l">
              <a:buNone/>
              <a:defRPr sz="1985">
                <a:solidFill>
                  <a:schemeClr val="bg1"/>
                </a:solidFill>
              </a:defRPr>
            </a:lvl1pPr>
            <a:lvl2pPr marL="378018" indent="0" algn="ctr">
              <a:buNone/>
              <a:defRPr sz="1653"/>
            </a:lvl2pPr>
            <a:lvl3pPr marL="756038" indent="0" algn="ctr">
              <a:buNone/>
              <a:defRPr sz="1490"/>
            </a:lvl3pPr>
            <a:lvl4pPr marL="1134057" indent="0" algn="ctr">
              <a:buNone/>
              <a:defRPr sz="1323"/>
            </a:lvl4pPr>
            <a:lvl5pPr marL="1512077" indent="0" algn="ctr">
              <a:buNone/>
              <a:defRPr sz="1323"/>
            </a:lvl5pPr>
            <a:lvl6pPr marL="1890097" indent="0" algn="ctr">
              <a:buNone/>
              <a:defRPr sz="1323"/>
            </a:lvl6pPr>
            <a:lvl7pPr marL="2268113" indent="0" algn="ctr">
              <a:buNone/>
              <a:defRPr sz="1323"/>
            </a:lvl7pPr>
            <a:lvl8pPr marL="2646133" indent="0" algn="ctr">
              <a:buNone/>
              <a:defRPr sz="1323"/>
            </a:lvl8pPr>
            <a:lvl9pPr marL="3024153" indent="0" algn="ctr">
              <a:buNone/>
              <a:defRPr sz="132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29E56A-9925-0546-B797-F78D41600F4F}"/>
              </a:ext>
            </a:extLst>
          </p:cNvPr>
          <p:cNvCxnSpPr>
            <a:cxnSpLocks/>
          </p:cNvCxnSpPr>
          <p:nvPr/>
        </p:nvCxnSpPr>
        <p:spPr>
          <a:xfrm>
            <a:off x="365760" y="4270246"/>
            <a:ext cx="2441448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CAD665B-C7C1-E54C-BF2E-18C758DA7C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3478" y="810124"/>
            <a:ext cx="1158125" cy="149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295326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playing a game&#10;&#10;Description automatically generated with low confidence">
            <a:extLst>
              <a:ext uri="{FF2B5EF4-FFF2-40B4-BE49-F238E27FC236}">
                <a16:creationId xmlns:a16="http://schemas.microsoft.com/office/drawing/2014/main" id="{FE623C5D-89AF-974B-9EC7-9F9192168E3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62"/>
          <a:stretch/>
        </p:blipFill>
        <p:spPr>
          <a:xfrm>
            <a:off x="1" y="3676014"/>
            <a:ext cx="6848908" cy="5071746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83F329E6-A28F-AE4E-AEBA-0778244AD2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015" y="717697"/>
            <a:ext cx="2085975" cy="2684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3424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–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287574"/>
            <a:ext cx="3010178" cy="64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40117" y="2287574"/>
            <a:ext cx="3010178" cy="6425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5058191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aster – Uneven Doubl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68177-6896-E849-8188-287BD2AA6653}"/>
              </a:ext>
            </a:extLst>
          </p:cNvPr>
          <p:cNvSpPr/>
          <p:nvPr/>
        </p:nvSpPr>
        <p:spPr>
          <a:xfrm>
            <a:off x="-3344" y="0"/>
            <a:ext cx="6858000" cy="1813090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9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17915"/>
            <a:ext cx="6242585" cy="1795182"/>
          </a:xfrm>
        </p:spPr>
        <p:txBody>
          <a:bodyPr anchor="ctr" anchorCtr="0">
            <a:normAutofit/>
          </a:bodyPr>
          <a:lstStyle>
            <a:lvl1pPr>
              <a:defRPr sz="352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62D300-E314-F649-8673-7BB17CD383A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7F39F4-0AF2-3C4E-8CF1-6F1A4E6C8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215255" y="9052184"/>
            <a:ext cx="1543050" cy="511175"/>
          </a:xfrm>
        </p:spPr>
        <p:txBody>
          <a:bodyPr/>
          <a:lstStyle>
            <a:lvl1pPr>
              <a:defRPr sz="1176"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6948DAF-EBCC-7F4D-9489-5A3B7E233DA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2" y="2301497"/>
            <a:ext cx="1965528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2">
            <a:extLst>
              <a:ext uri="{FF2B5EF4-FFF2-40B4-BE49-F238E27FC236}">
                <a16:creationId xmlns:a16="http://schemas.microsoft.com/office/drawing/2014/main" id="{73D58EA1-ADE7-1D42-ADC7-4CE9E81693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503970" y="2301503"/>
            <a:ext cx="4046325" cy="64264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9845606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49A46AC-F417-1543-BF7D-4D0416600F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65601" y="3503198"/>
            <a:ext cx="2007482" cy="259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458331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e Rever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3CA37BA-851E-5A4A-9ACE-280ECF3E79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5604" y="3503968"/>
            <a:ext cx="2007481" cy="2591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152204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238" y="0"/>
            <a:ext cx="6242585" cy="1137920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06086-1914-2543-9E2A-684C7B875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9" y="9090047"/>
            <a:ext cx="2314575" cy="511175"/>
          </a:xfrm>
        </p:spPr>
        <p:txBody>
          <a:bodyPr/>
          <a:lstStyle/>
          <a:p>
            <a:r>
              <a:rPr lang="en-US"/>
              <a:t>Help at Ho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839AEEFF-49A6-CA4B-BB32-9BA60B1AB30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709" y="1593096"/>
            <a:ext cx="6243111" cy="7040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45932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Du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CBF80B-70C0-DE40-9B2F-11B0C84DE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711" y="9"/>
            <a:ext cx="6242585" cy="1134237"/>
          </a:xfrm>
        </p:spPr>
        <p:txBody>
          <a:bodyPr anchor="ctr" anchorCtr="0">
            <a:noAutofit/>
          </a:bodyPr>
          <a:lstStyle>
            <a:lvl1pPr>
              <a:defRPr sz="220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806086-1914-2543-9E2A-684C7B875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9" y="9090047"/>
            <a:ext cx="2314575" cy="511175"/>
          </a:xfrm>
        </p:spPr>
        <p:txBody>
          <a:bodyPr/>
          <a:lstStyle/>
          <a:p>
            <a:r>
              <a:rPr lang="en-US"/>
              <a:t>Help at Ho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7A4202-570D-7B4E-89D8-28EF648D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54390-517E-9640-AC9D-8AF08224213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7B4054F-17CD-D641-9E1B-A380C76E12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7184" y="1593088"/>
            <a:ext cx="2953941" cy="7041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1C1B787-6A79-6943-A007-A6B4B3FD54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12357" y="1593090"/>
            <a:ext cx="2937936" cy="70413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6093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790082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62539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843100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F07F460B-F252-6445-B8C5-8E43F907DF5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8047AE1A-FEB7-9448-BE93-F3FCAE18E4D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540838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656389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AB11D8-0495-5E45-BFDF-AE7F75F0D7B9}"/>
              </a:ext>
            </a:extLst>
          </p:cNvPr>
          <p:cNvCxnSpPr/>
          <p:nvPr userDrawn="1"/>
        </p:nvCxnSpPr>
        <p:spPr>
          <a:xfrm>
            <a:off x="252093" y="0"/>
            <a:ext cx="0" cy="960120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">
            <a:extLst>
              <a:ext uri="{FF2B5EF4-FFF2-40B4-BE49-F238E27FC236}">
                <a16:creationId xmlns:a16="http://schemas.microsoft.com/office/drawing/2014/main" id="{28B223EC-84AD-F941-BA2E-AB807763CF1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7889FA-2987-6547-8DD3-9790BA2DE737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0FC981-0112-F24A-BDFD-EA8A93B59D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50306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4886951E-D4DE-DF4F-BB53-131EFA7F833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76FF1D-4004-FD41-A544-6E55E238C41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935313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416AAFFB-AD02-8A49-BF87-66A74CD7B5C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18" name="CONTENT_BODY">
            <a:extLst>
              <a:ext uri="{FF2B5EF4-FFF2-40B4-BE49-F238E27FC236}">
                <a16:creationId xmlns:a16="http://schemas.microsoft.com/office/drawing/2014/main" id="{F5374E2A-6252-4C42-BB32-C703C00EBEC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3340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7A63936-51E3-0643-907E-5018F983E3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4592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247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073" y="2351405"/>
            <a:ext cx="3504010" cy="595118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74547A36-015A-7E4F-BAA2-B6DAF1129B6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908FB5FA-1F33-6741-91B4-BA3982565AC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4C97A00-CF03-7F4C-BDCC-240AF2EF9E5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EC43F-F4FB-BE49-A897-7EC3619D66D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543970AC-FB34-B54D-AEC8-13E886D02C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13259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CD7A90E9-93DB-E242-9EE5-25073AAC12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393" y="1954840"/>
            <a:ext cx="3300212" cy="648622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0FB04D65-2AB6-BB46-900D-499E25F6399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DF75F0E1-FF52-4F47-8D31-2F91FA90FA6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08D9FD7-3B6B-A642-B69C-5E0D6848D72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F891E3-C50C-3045-8D5B-FAC7DE9D89A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FA8B594-C762-C049-BA5A-97A4231EC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3460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51C71E-69DD-8548-8A03-A95195FC12F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0145D153-4259-C442-A60B-877B687AA0B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36AD6D6-44CC-8040-8106-98BCE69F644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" name="Picture 1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D5806E-A8F3-1F4D-82FA-4F558AFEEC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056" y="2321169"/>
            <a:ext cx="3530411" cy="610655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58263E-7ED4-DD4B-8B85-2217C17E8C3A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4489ECC-72A6-FD4C-A90E-971EA795D5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49353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D6DF272A-DFA2-CA48-A33F-A2930A3AA6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210" y="1938026"/>
            <a:ext cx="3313388" cy="6663055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2A48CC2-0DE3-744A-80BC-8F496E076C9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F619E19-7687-774F-9736-E8F8B3CE92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F67E747-BF57-1841-BC64-60990BB5EB0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6341B48-CB55-7643-9146-504AC38BF2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A5D2C38-EDC8-3345-88F7-3F26677064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719560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6022C7-4E0C-634C-8EA4-E25F7D17CE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491" y="2106936"/>
            <a:ext cx="3373636" cy="6275664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6CCB1D9A-C04F-1D46-B01F-25E830C460F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E1DBCD0-262A-9B4B-A202-A0484C1A7AA8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16EC32-037D-E148-920B-B6B9C0BA59C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7F2ABA-46AC-5846-A87F-1B0C07DF92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A878E25-72EB-6E4F-88FB-450C426912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9215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246AED4-C5D7-744C-9285-5271D768C6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997" y="2000256"/>
            <a:ext cx="3307782" cy="6547485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C700CA76-1402-B04D-A5F4-59137397F33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712270B3-06B2-124E-89A0-389B22EE271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291EECB-33F1-774B-9367-105EC058517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E58BEC-0C7F-2844-A1C5-F460D474FB5F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6F2B0C6-B1E0-DA4B-BC8E-04C5527B49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691592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059571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6" name="Picture 5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12C280E-BCC1-694E-8311-E388CD071BF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351" y="2196845"/>
            <a:ext cx="3650456" cy="6368670"/>
          </a:xfrm>
          <a:prstGeom prst="rect">
            <a:avLst/>
          </a:prstGeom>
        </p:spPr>
      </p:pic>
      <p:sp>
        <p:nvSpPr>
          <p:cNvPr id="15" name="SUBTITLE">
            <a:extLst>
              <a:ext uri="{FF2B5EF4-FFF2-40B4-BE49-F238E27FC236}">
                <a16:creationId xmlns:a16="http://schemas.microsoft.com/office/drawing/2014/main" id="{E9FA6826-A7DE-AF4C-B064-5C0EF3E8816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9" name="CONTENT_BODY">
            <a:extLst>
              <a:ext uri="{FF2B5EF4-FFF2-40B4-BE49-F238E27FC236}">
                <a16:creationId xmlns:a16="http://schemas.microsoft.com/office/drawing/2014/main" id="{65799A06-E165-5E4D-AD06-5147E2952E3E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267099F-5424-0542-B5F2-A9666C380755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216228E-91EE-8B47-A1DD-BBCCFB163FB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EE6C93A-7981-DB43-9B20-8EC15CA723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21486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572FC43F-47A3-C74B-9D80-9114C3C975A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012" y="2093595"/>
            <a:ext cx="3226016" cy="6560820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15F3F329-EB0F-BA44-BD7D-DEF3771EB3C4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57D66653-6AB4-4741-92DD-CCB67AE1BAF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3EFABD2-FB45-DF41-8952-3876CC97648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7E974D6-1C7B-204A-B803-BEE774AEB09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C6FB52EA-4D0B-8849-9D44-7B7677CF1F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072886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4" name="Picture 3" descr="A picture containing bedroom&#10;&#10;Description automatically generated">
            <a:extLst>
              <a:ext uri="{FF2B5EF4-FFF2-40B4-BE49-F238E27FC236}">
                <a16:creationId xmlns:a16="http://schemas.microsoft.com/office/drawing/2014/main" id="{16A213DA-5018-A348-A2E6-EA4AC1E8E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2846785" y="2115825"/>
            <a:ext cx="3378994" cy="6413032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DB5D7591-2B4F-4C40-A9A6-2577DFCFC49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753F9D1B-43EA-4B45-96B2-8F0AA75C84CA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C8F8380-77EE-3440-96B8-B5BD10FFD7F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81BE6AD-51A9-6849-AE16-0E81937D2D6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5002B3E-358D-9D4B-923F-4A9B00853F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509325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pic>
        <p:nvPicPr>
          <p:cNvPr id="3" name="Picture 2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C2BB09E2-412A-8843-BF63-02FA4DC1AE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9648" y="1929134"/>
            <a:ext cx="3220078" cy="6551931"/>
          </a:xfrm>
          <a:prstGeom prst="rect">
            <a:avLst/>
          </a:prstGeom>
        </p:spPr>
      </p:pic>
      <p:sp>
        <p:nvSpPr>
          <p:cNvPr id="13" name="SUBTITLE">
            <a:extLst>
              <a:ext uri="{FF2B5EF4-FFF2-40B4-BE49-F238E27FC236}">
                <a16:creationId xmlns:a16="http://schemas.microsoft.com/office/drawing/2014/main" id="{57C7A60A-EA51-1441-A2C7-FC0C8DC97FC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5" name="CONTENT_BODY">
            <a:extLst>
              <a:ext uri="{FF2B5EF4-FFF2-40B4-BE49-F238E27FC236}">
                <a16:creationId xmlns:a16="http://schemas.microsoft.com/office/drawing/2014/main" id="{3C5E8E72-0225-0440-94F9-103F3E13D95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3DE48B-6A69-1548-A93A-6890580DD7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9AF25F-BEFC-E948-A3F4-54212E13B3C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3ACEC71-69C8-1342-A41B-96C12DB19E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51422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Righ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77DD56-CF2D-7143-A269-17CD1CDF1486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1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11" name="CONTENT_BODY">
            <a:extLst>
              <a:ext uri="{FF2B5EF4-FFF2-40B4-BE49-F238E27FC236}">
                <a16:creationId xmlns:a16="http://schemas.microsoft.com/office/drawing/2014/main" id="{5CF8FE1B-8254-3045-AD7C-359A1EA50C0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4" y="280035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CCDD8A-7501-684E-82AC-FE12D8BBEC4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67592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6C7207C-A2E3-9047-A798-273D4A4115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405" y="1866902"/>
            <a:ext cx="3204650" cy="684897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2F8906-57CC-3F4B-BA86-4D49E40C4285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7545CEB-AA76-114C-B8BB-EED295A6A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96707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26B84C-55CA-EE4F-8980-930C5FC90F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6" y="2391410"/>
            <a:ext cx="3504010" cy="5951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06CC4D0-5556-D84E-A8A7-3B6ED4814D4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4440AE9-9FBF-5C48-8966-17A3A54ED8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597550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and perso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9839DB6C-11F2-0940-A9F0-202160AD69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580" y="1954840"/>
            <a:ext cx="3300212" cy="648622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F36FB9A9-9207-EF4D-BD99-BF4EDC2BA16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DCE9D31-06F5-C843-9DC1-1FF9A025E05E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E406DC6-6CB1-5F4F-AE73-60E795212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963732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0D0C946-5ADD-8B41-B649-6925D550BC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7" y="2321169"/>
            <a:ext cx="3530411" cy="6106551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84FCA277-348C-5C42-918C-26627AE47FF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218AA5-BD09-1E49-89F7-C6241D7AD229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3957676-6A42-1743-B957-6E78550BE1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08746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7A864146-6CCE-9A4A-84BA-B6BCDAF5D3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1" y="1938026"/>
            <a:ext cx="3313388" cy="666305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BE26645-9E7A-F548-B39E-AD1776B7626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04E142-6BB1-BA4F-9634-9340B6077CF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E63458E-6241-1340-AA06-D6280B5A5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219482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459C2-4B47-8440-B7B9-578E698F5D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28" y="2106936"/>
            <a:ext cx="3373636" cy="6275664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B9775042-0EAD-924F-A799-62789C37D750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706CFE3-CD00-984B-B662-4F7D04634BB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F725BDE-5F05-C14C-AF44-FB1BDBF8E3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19503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CA3FC3D-D4C7-754E-A0BC-78A17791F0F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BC74A1F-1A5F-964F-86B7-9ED3F989877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68681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B0877346-9DC8-0343-9DCE-804A59167A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71" y="2000256"/>
            <a:ext cx="3307782" cy="6547485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56F0E052-93EF-3643-BCDC-4906B91EAD59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38120-D557-4244-88A0-C3D6FDEA8CE2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86EC7-CC70-854E-9AEC-20907FA1E1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8894659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DB8F2F09-0FE3-4A4F-ACA6-7F81E8B8E3C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68" y="2196845"/>
            <a:ext cx="3650456" cy="6368670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5BDDD7F7-2303-2144-AC89-7933313B61C2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71A0F5-4117-5E48-AEC2-8DB22FB65808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5D38590-BB10-9248-96D4-51B85870E6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37578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 descr="A picture containing bedroom&#10;&#10;Description automatically generated">
            <a:extLst>
              <a:ext uri="{FF2B5EF4-FFF2-40B4-BE49-F238E27FC236}">
                <a16:creationId xmlns:a16="http://schemas.microsoft.com/office/drawing/2014/main" id="{A4C46BDA-DDCE-F945-B5A5-9BFF86253E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07"/>
          <a:stretch/>
        </p:blipFill>
        <p:spPr>
          <a:xfrm>
            <a:off x="371476" y="2115825"/>
            <a:ext cx="3378994" cy="641303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F426D2B8-6A2C-0F42-A33E-2F8DEC900B9C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74C9DAF-C0E9-6846-B2F8-20B3333F4A60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134E39-4866-EC4C-83A0-B1EC155710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47185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80EEB071-ACF4-BF4B-9446-07CBF0CF71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33" y="1929134"/>
            <a:ext cx="3220078" cy="6551931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DE095F98-09C4-5D45-8067-131EB41A2A14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77E37E-479B-EC4D-8F04-16D51705606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D61C570-0340-954F-9484-FB0A64EA9B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0142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A913BD2-E033-F440-A59D-9342F47420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80" y="1866902"/>
            <a:ext cx="3204650" cy="6848972"/>
          </a:xfrm>
          <a:prstGeom prst="rect">
            <a:avLst/>
          </a:prstGeom>
        </p:spPr>
      </p:pic>
      <p:sp>
        <p:nvSpPr>
          <p:cNvPr id="10" name="CONTENT_BODY">
            <a:extLst>
              <a:ext uri="{FF2B5EF4-FFF2-40B4-BE49-F238E27FC236}">
                <a16:creationId xmlns:a16="http://schemas.microsoft.com/office/drawing/2014/main" id="{06BA9F2C-3AFE-8E44-A4FA-47B2B89B4446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5ACA424-3199-A14F-92C8-A844C7A91B8D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21D3765-BB43-7C43-8981-4C0DA1D597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425584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p and Bottom Line Lef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030538" y="2221643"/>
            <a:ext cx="2125590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45ED79-7B15-7749-AE9B-6552CE7439B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20754" y="2694678"/>
            <a:ext cx="2143294" cy="0"/>
          </a:xfrm>
          <a:prstGeom prst="line">
            <a:avLst/>
          </a:prstGeom>
          <a:noFill/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28B037F3-E995-E146-ADA1-7DDFCF9C89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71" y="2093595"/>
            <a:ext cx="3226016" cy="6560820"/>
          </a:xfrm>
          <a:prstGeom prst="rect">
            <a:avLst/>
          </a:prstGeom>
        </p:spPr>
      </p:pic>
      <p:sp>
        <p:nvSpPr>
          <p:cNvPr id="11" name="CONTENT_BODY">
            <a:extLst>
              <a:ext uri="{FF2B5EF4-FFF2-40B4-BE49-F238E27FC236}">
                <a16:creationId xmlns:a16="http://schemas.microsoft.com/office/drawing/2014/main" id="{E5FA3264-73E9-1E4E-8198-FF3FD2778C65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030538" y="2878270"/>
            <a:ext cx="2109516" cy="5731037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69FEFCC-25CE-3A4B-9369-7B3B7F8855A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1890F2F-F48E-BF47-B426-AC7C664FE5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883102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9BA565C6-4721-7341-BE63-E67036183F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882" y="1571105"/>
            <a:ext cx="1034471" cy="7185545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71EDBA7-8291-694D-A458-9595F81A169C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E2B5292-6F5F-3341-867F-0C9B0CD4AE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13141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7E67D680-12ED-824A-87EF-6791CFA1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48" r="32236"/>
          <a:stretch/>
        </p:blipFill>
        <p:spPr>
          <a:xfrm>
            <a:off x="6102044" y="2385753"/>
            <a:ext cx="755957" cy="1149235"/>
          </a:xfrm>
          <a:prstGeom prst="rect">
            <a:avLst/>
          </a:prstGeom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C126D6A-DDDE-834A-B729-8C50F919F1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5"/>
          <a:stretch/>
        </p:blipFill>
        <p:spPr>
          <a:xfrm>
            <a:off x="6446911" y="1807096"/>
            <a:ext cx="300038" cy="564110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AB055B6-38C0-B645-A119-8AC14F6B2C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" t="-325" r="58022" b="627"/>
          <a:stretch/>
        </p:blipFill>
        <p:spPr>
          <a:xfrm>
            <a:off x="5955941" y="4276903"/>
            <a:ext cx="902061" cy="448055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3FAE0-C312-F34A-A6E6-2C89A65B2CE1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C166583-7A41-4041-803E-9B3C0754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44325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 descr="A picture containing window, building&#10;&#10;Description automatically generated">
            <a:extLst>
              <a:ext uri="{FF2B5EF4-FFF2-40B4-BE49-F238E27FC236}">
                <a16:creationId xmlns:a16="http://schemas.microsoft.com/office/drawing/2014/main" id="{CB89B883-6AD8-B84D-B7F9-3A9757F16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92"/>
          <a:stretch/>
        </p:blipFill>
        <p:spPr>
          <a:xfrm>
            <a:off x="5907232" y="2312216"/>
            <a:ext cx="950769" cy="3448512"/>
          </a:xfrm>
          <a:prstGeom prst="rect">
            <a:avLst/>
          </a:prstGeom>
        </p:spPr>
      </p:pic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E2C3AEB5-ED5F-E84E-AD7A-898ACF65B4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36" t="-4489" r="40379" b="-1"/>
          <a:stretch/>
        </p:blipFill>
        <p:spPr>
          <a:xfrm>
            <a:off x="5392559" y="4273667"/>
            <a:ext cx="1465442" cy="451612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8C6848F-00AC-D549-8DED-3D587B4F72B6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68B903-FC70-884E-9081-28161BF1EF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9066505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and Bottom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7A481A7-1144-4D48-AF21-5EE3727927BB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8774623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">
            <a:extLst>
              <a:ext uri="{FF2B5EF4-FFF2-40B4-BE49-F238E27FC236}">
                <a16:creationId xmlns:a16="http://schemas.microsoft.com/office/drawing/2014/main" id="{38856AFC-F12A-3042-B5A9-13053567FAC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67593" y="170688"/>
            <a:ext cx="5330026" cy="52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50941" rIns="0" bIns="50941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US" sz="2205" b="1" dirty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Enter Label Her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CD37F09-BF8C-4846-B96E-901BE1E79F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467592" y="1928273"/>
            <a:ext cx="5330028" cy="470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100584" bIns="18288" anchor="t" anchorCtr="0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764" b="1" kern="1200" dirty="0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557" b="1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/>
              <a:t>Sub-Header: Enter your optional sub-heading here</a:t>
            </a:r>
          </a:p>
        </p:txBody>
      </p:sp>
      <p:sp>
        <p:nvSpPr>
          <p:cNvPr id="23" name="CONTENT_BODY">
            <a:extLst>
              <a:ext uri="{FF2B5EF4-FFF2-40B4-BE49-F238E27FC236}">
                <a16:creationId xmlns:a16="http://schemas.microsoft.com/office/drawing/2014/main" id="{0772CFBE-E2B8-A642-B776-299A2150CF61}"/>
              </a:ext>
            </a:extLst>
          </p:cNvPr>
          <p:cNvSpPr>
            <a:spLocks noGrp="1"/>
          </p:cNvSpPr>
          <p:nvPr>
            <p:ph sz="quarter" idx="19" hasCustomPrompt="1"/>
            <p:custDataLst>
              <p:tags r:id="rId3"/>
            </p:custDataLst>
          </p:nvPr>
        </p:nvSpPr>
        <p:spPr>
          <a:xfrm>
            <a:off x="467592" y="2425534"/>
            <a:ext cx="5330028" cy="6212541"/>
          </a:xfrm>
          <a:prstGeom prst="rect">
            <a:avLst/>
          </a:prstGeom>
        </p:spPr>
        <p:txBody>
          <a:bodyPr lIns="0" rIns="18288"/>
          <a:lstStyle>
            <a:lvl1pPr>
              <a:defRPr sz="1323"/>
            </a:lvl1pPr>
            <a:lvl2pPr>
              <a:defRPr sz="1323"/>
            </a:lvl2pPr>
            <a:lvl3pPr>
              <a:defRPr sz="1323"/>
            </a:lvl3pPr>
            <a:lvl4pPr>
              <a:defRPr sz="1323"/>
            </a:lvl4pPr>
            <a:lvl5pPr>
              <a:defRPr sz="1323"/>
            </a:lvl5pPr>
          </a:lstStyle>
          <a:p>
            <a:pPr lvl="0"/>
            <a:r>
              <a:rPr lang="en-US"/>
              <a:t>Enter your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6F86EDC7-B97B-7D47-99B4-FB6B796F0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53" r="53883"/>
          <a:stretch/>
        </p:blipFill>
        <p:spPr>
          <a:xfrm>
            <a:off x="5955912" y="3180103"/>
            <a:ext cx="902091" cy="5600792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D95539-14F0-7D41-8974-B2E9D64227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-1602" r="62206" b="78438"/>
          <a:stretch/>
        </p:blipFill>
        <p:spPr>
          <a:xfrm>
            <a:off x="6388462" y="2022077"/>
            <a:ext cx="469541" cy="154200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1D6703-C547-7643-8963-A4855F07BEC4}"/>
              </a:ext>
            </a:extLst>
          </p:cNvPr>
          <p:cNvCxnSpPr>
            <a:cxnSpLocks/>
          </p:cNvCxnSpPr>
          <p:nvPr userDrawn="1"/>
        </p:nvCxnSpPr>
        <p:spPr>
          <a:xfrm flipH="1">
            <a:off x="858" y="1198400"/>
            <a:ext cx="6856286" cy="0"/>
          </a:xfrm>
          <a:prstGeom prst="line">
            <a:avLst/>
          </a:prstGeom>
          <a:ln w="19050">
            <a:solidFill>
              <a:srgbClr val="8A24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35FDA83-93E7-814A-8E75-BADD46FFA3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0784" y="562905"/>
            <a:ext cx="5386837" cy="8267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46" b="1" i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Headline: Enter your headline here</a:t>
            </a:r>
          </a:p>
        </p:txBody>
      </p:sp>
    </p:spTree>
    <p:extLst>
      <p:ext uri="{BB962C8B-B14F-4D97-AF65-F5344CB8AC3E}">
        <p14:creationId xmlns:p14="http://schemas.microsoft.com/office/powerpoint/2010/main" val="2143838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47" Type="http://schemas.openxmlformats.org/officeDocument/2006/relationships/slideLayout" Target="../slideLayouts/slideLayout54.xml"/><Relationship Id="rId50" Type="http://schemas.openxmlformats.org/officeDocument/2006/relationships/slideLayout" Target="../slideLayouts/slideLayout57.xml"/><Relationship Id="rId55" Type="http://schemas.openxmlformats.org/officeDocument/2006/relationships/tags" Target="../tags/tag14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52.xml"/><Relationship Id="rId53" Type="http://schemas.openxmlformats.org/officeDocument/2006/relationships/tags" Target="../tags/tag12.xml"/><Relationship Id="rId58" Type="http://schemas.openxmlformats.org/officeDocument/2006/relationships/image" Target="../media/image3.emf"/><Relationship Id="rId5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Relationship Id="rId48" Type="http://schemas.openxmlformats.org/officeDocument/2006/relationships/slideLayout" Target="../slideLayouts/slideLayout55.xml"/><Relationship Id="rId56" Type="http://schemas.openxmlformats.org/officeDocument/2006/relationships/tags" Target="../tags/tag15.xml"/><Relationship Id="rId8" Type="http://schemas.openxmlformats.org/officeDocument/2006/relationships/slideLayout" Target="../slideLayouts/slideLayout15.xml"/><Relationship Id="rId51" Type="http://schemas.openxmlformats.org/officeDocument/2006/relationships/slideLayout" Target="../slideLayouts/slideLayout58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27.xml"/><Relationship Id="rId41" Type="http://schemas.openxmlformats.org/officeDocument/2006/relationships/slideLayout" Target="../slideLayouts/slideLayout48.xml"/><Relationship Id="rId54" Type="http://schemas.openxmlformats.org/officeDocument/2006/relationships/tags" Target="../tags/tag13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49" Type="http://schemas.openxmlformats.org/officeDocument/2006/relationships/slideLayout" Target="../slideLayouts/slideLayout56.xml"/><Relationship Id="rId57" Type="http://schemas.openxmlformats.org/officeDocument/2006/relationships/tags" Target="../tags/tag16.xml"/><Relationship Id="rId10" Type="http://schemas.openxmlformats.org/officeDocument/2006/relationships/slideLayout" Target="../slideLayouts/slideLayout17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5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62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42" Type="http://schemas.openxmlformats.org/officeDocument/2006/relationships/slideLayout" Target="../slideLayouts/slideLayout108.xml"/><Relationship Id="rId47" Type="http://schemas.openxmlformats.org/officeDocument/2006/relationships/slideLayout" Target="../slideLayouts/slideLayout113.xml"/><Relationship Id="rId50" Type="http://schemas.openxmlformats.org/officeDocument/2006/relationships/tags" Target="../tags/tag143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slideLayout" Target="../slideLayouts/slideLayout106.xml"/><Relationship Id="rId45" Type="http://schemas.openxmlformats.org/officeDocument/2006/relationships/slideLayout" Target="../slideLayouts/slideLayout111.xml"/><Relationship Id="rId53" Type="http://schemas.openxmlformats.org/officeDocument/2006/relationships/tags" Target="../tags/tag146.xml"/><Relationship Id="rId5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Relationship Id="rId43" Type="http://schemas.openxmlformats.org/officeDocument/2006/relationships/slideLayout" Target="../slideLayouts/slideLayout109.xml"/><Relationship Id="rId48" Type="http://schemas.openxmlformats.org/officeDocument/2006/relationships/theme" Target="../theme/theme4.xml"/><Relationship Id="rId56" Type="http://schemas.openxmlformats.org/officeDocument/2006/relationships/image" Target="../media/image28.emf"/><Relationship Id="rId8" Type="http://schemas.openxmlformats.org/officeDocument/2006/relationships/slideLayout" Target="../slideLayouts/slideLayout74.xml"/><Relationship Id="rId51" Type="http://schemas.openxmlformats.org/officeDocument/2006/relationships/tags" Target="../tags/tag144.xml"/><Relationship Id="rId3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4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86.xml"/><Relationship Id="rId41" Type="http://schemas.openxmlformats.org/officeDocument/2006/relationships/slideLayout" Target="../slideLayouts/slideLayout107.xml"/><Relationship Id="rId54" Type="http://schemas.openxmlformats.org/officeDocument/2006/relationships/tags" Target="../tags/tag147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49" Type="http://schemas.openxmlformats.org/officeDocument/2006/relationships/tags" Target="../tags/tag142.xml"/><Relationship Id="rId57" Type="http://schemas.openxmlformats.org/officeDocument/2006/relationships/image" Target="../media/image3.emf"/><Relationship Id="rId10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97.xml"/><Relationship Id="rId44" Type="http://schemas.openxmlformats.org/officeDocument/2006/relationships/slideLayout" Target="../slideLayouts/slideLayout110.xml"/><Relationship Id="rId52" Type="http://schemas.openxmlformats.org/officeDocument/2006/relationships/tags" Target="../tags/tag14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slideLayout" Target="../slideLayouts/slideLayout139.xml"/><Relationship Id="rId39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34.xml"/><Relationship Id="rId34" Type="http://schemas.openxmlformats.org/officeDocument/2006/relationships/slideLayout" Target="../slideLayouts/slideLayout147.xml"/><Relationship Id="rId42" Type="http://schemas.openxmlformats.org/officeDocument/2006/relationships/slideLayout" Target="../slideLayouts/slideLayout155.xml"/><Relationship Id="rId47" Type="http://schemas.openxmlformats.org/officeDocument/2006/relationships/slideLayout" Target="../slideLayouts/slideLayout160.xml"/><Relationship Id="rId50" Type="http://schemas.openxmlformats.org/officeDocument/2006/relationships/tags" Target="../tags/tag277.xml"/><Relationship Id="rId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24.xml"/><Relationship Id="rId24" Type="http://schemas.openxmlformats.org/officeDocument/2006/relationships/slideLayout" Target="../slideLayouts/slideLayout137.xml"/><Relationship Id="rId32" Type="http://schemas.openxmlformats.org/officeDocument/2006/relationships/slideLayout" Target="../slideLayouts/slideLayout145.xml"/><Relationship Id="rId37" Type="http://schemas.openxmlformats.org/officeDocument/2006/relationships/slideLayout" Target="../slideLayouts/slideLayout150.xml"/><Relationship Id="rId40" Type="http://schemas.openxmlformats.org/officeDocument/2006/relationships/slideLayout" Target="../slideLayouts/slideLayout153.xml"/><Relationship Id="rId45" Type="http://schemas.openxmlformats.org/officeDocument/2006/relationships/slideLayout" Target="../slideLayouts/slideLayout158.xml"/><Relationship Id="rId53" Type="http://schemas.openxmlformats.org/officeDocument/2006/relationships/tags" Target="../tags/tag280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44.xml"/><Relationship Id="rId44" Type="http://schemas.openxmlformats.org/officeDocument/2006/relationships/slideLayout" Target="../slideLayouts/slideLayout157.xml"/><Relationship Id="rId52" Type="http://schemas.openxmlformats.org/officeDocument/2006/relationships/tags" Target="../tags/tag279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slideLayout" Target="../slideLayouts/slideLayout140.xml"/><Relationship Id="rId30" Type="http://schemas.openxmlformats.org/officeDocument/2006/relationships/slideLayout" Target="../slideLayouts/slideLayout143.xml"/><Relationship Id="rId35" Type="http://schemas.openxmlformats.org/officeDocument/2006/relationships/slideLayout" Target="../slideLayouts/slideLayout148.xml"/><Relationship Id="rId43" Type="http://schemas.openxmlformats.org/officeDocument/2006/relationships/slideLayout" Target="../slideLayouts/slideLayout156.xml"/><Relationship Id="rId48" Type="http://schemas.openxmlformats.org/officeDocument/2006/relationships/theme" Target="../theme/theme5.xml"/><Relationship Id="rId8" Type="http://schemas.openxmlformats.org/officeDocument/2006/relationships/slideLayout" Target="../slideLayouts/slideLayout121.xml"/><Relationship Id="rId51" Type="http://schemas.openxmlformats.org/officeDocument/2006/relationships/tags" Target="../tags/tag278.xml"/><Relationship Id="rId3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slideLayout" Target="../slideLayouts/slideLayout138.xml"/><Relationship Id="rId33" Type="http://schemas.openxmlformats.org/officeDocument/2006/relationships/slideLayout" Target="../slideLayouts/slideLayout146.xml"/><Relationship Id="rId38" Type="http://schemas.openxmlformats.org/officeDocument/2006/relationships/slideLayout" Target="../slideLayouts/slideLayout151.xml"/><Relationship Id="rId4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33.xml"/><Relationship Id="rId41" Type="http://schemas.openxmlformats.org/officeDocument/2006/relationships/slideLayout" Target="../slideLayouts/slideLayout154.xml"/><Relationship Id="rId54" Type="http://schemas.openxmlformats.org/officeDocument/2006/relationships/image" Target="../media/image3.emf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8.xml"/><Relationship Id="rId23" Type="http://schemas.openxmlformats.org/officeDocument/2006/relationships/slideLayout" Target="../slideLayouts/slideLayout136.xml"/><Relationship Id="rId28" Type="http://schemas.openxmlformats.org/officeDocument/2006/relationships/slideLayout" Target="../slideLayouts/slideLayout141.xml"/><Relationship Id="rId36" Type="http://schemas.openxmlformats.org/officeDocument/2006/relationships/slideLayout" Target="../slideLayouts/slideLayout149.xml"/><Relationship Id="rId49" Type="http://schemas.openxmlformats.org/officeDocument/2006/relationships/tags" Target="../tags/tag2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67592" y="282390"/>
            <a:ext cx="5922819" cy="124469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F1EC08-6FBC-814C-8823-60D66549F220}"/>
              </a:ext>
            </a:extLst>
          </p:cNvPr>
          <p:cNvSpPr/>
          <p:nvPr/>
        </p:nvSpPr>
        <p:spPr>
          <a:xfrm>
            <a:off x="0" y="8925336"/>
            <a:ext cx="6858000" cy="675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C5E09D8-A5DD-6D45-9BE5-7A5FAD282BD0}"/>
              </a:ext>
            </a:extLst>
          </p:cNvPr>
          <p:cNvCxnSpPr/>
          <p:nvPr/>
        </p:nvCxnSpPr>
        <p:spPr>
          <a:xfrm>
            <a:off x="0" y="8769096"/>
            <a:ext cx="6858000" cy="0"/>
          </a:xfrm>
          <a:prstGeom prst="line">
            <a:avLst/>
          </a:prstGeom>
          <a:ln w="412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9"/>
    </p:custDataLst>
    <p:extLst>
      <p:ext uri="{BB962C8B-B14F-4D97-AF65-F5344CB8AC3E}">
        <p14:creationId xmlns:p14="http://schemas.microsoft.com/office/powerpoint/2010/main" val="2911250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727" r:id="rId7"/>
  </p:sldLayoutIdLst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54"/>
            </p:custDataLst>
          </p:nvPr>
        </p:nvSpPr>
        <p:spPr>
          <a:xfrm>
            <a:off x="467592" y="282388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5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6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>
          <a:xfrm>
            <a:off x="6604086" y="9148561"/>
            <a:ext cx="253914" cy="361208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53"/>
    </p:custDataLst>
    <p:extLst>
      <p:ext uri="{BB962C8B-B14F-4D97-AF65-F5344CB8AC3E}">
        <p14:creationId xmlns:p14="http://schemas.microsoft.com/office/powerpoint/2010/main" val="2845904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842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  <p:sldLayoutId id="2147483691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  <p:sldLayoutId id="2147483698" r:id="rId33"/>
    <p:sldLayoutId id="2147483699" r:id="rId34"/>
    <p:sldLayoutId id="2147483700" r:id="rId35"/>
    <p:sldLayoutId id="2147483701" r:id="rId36"/>
    <p:sldLayoutId id="2147483702" r:id="rId37"/>
    <p:sldLayoutId id="2147483703" r:id="rId38"/>
    <p:sldLayoutId id="2147483704" r:id="rId39"/>
    <p:sldLayoutId id="2147483705" r:id="rId40"/>
    <p:sldLayoutId id="2147483706" r:id="rId41"/>
    <p:sldLayoutId id="2147483707" r:id="rId42"/>
    <p:sldLayoutId id="2147483708" r:id="rId43"/>
    <p:sldLayoutId id="2147483709" r:id="rId44"/>
    <p:sldLayoutId id="2147483710" r:id="rId45"/>
    <p:sldLayoutId id="2147483753" r:id="rId46"/>
    <p:sldLayoutId id="2147483724" r:id="rId47"/>
    <p:sldLayoutId id="2147483728" r:id="rId48"/>
    <p:sldLayoutId id="2147483986" r:id="rId49"/>
    <p:sldLayoutId id="2147483988" r:id="rId50"/>
    <p:sldLayoutId id="2147483726" r:id="rId51"/>
  </p:sldLayoutIdLst>
  <p:hf hdr="0" ftr="0" dt="0"/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90" y="511180"/>
            <a:ext cx="5915025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90" y="2555875"/>
            <a:ext cx="5915025" cy="60918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8898899"/>
            <a:ext cx="154305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5" y="8898899"/>
            <a:ext cx="2314575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Help at Hom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CC5EC52-0876-A44D-879F-5575DC2F2A6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0E71D5B-4680-BD44-AC44-0749773CAD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71" y="9137078"/>
            <a:ext cx="137405" cy="341376"/>
          </a:xfrm>
          <a:prstGeom prst="rect">
            <a:avLst/>
          </a:prstGeom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07ED991-8C1F-3F48-BC94-36BB6871E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15255" y="9052184"/>
            <a:ext cx="1543050" cy="511175"/>
          </a:xfrm>
          <a:prstGeom prst="rect">
            <a:avLst/>
          </a:prstGeom>
        </p:spPr>
        <p:txBody>
          <a:bodyPr/>
          <a:lstStyle>
            <a:lvl1pPr algn="r">
              <a:defRPr sz="1176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41354390-517E-9640-AC9D-8AF08224213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C81780-0424-4C75-824C-A9240933BEB7}"/>
              </a:ext>
            </a:extLst>
          </p:cNvPr>
          <p:cNvSpPr/>
          <p:nvPr userDrawn="1"/>
        </p:nvSpPr>
        <p:spPr>
          <a:xfrm>
            <a:off x="0" y="0"/>
            <a:ext cx="6858000" cy="1166368"/>
          </a:xfrm>
          <a:prstGeom prst="rect">
            <a:avLst/>
          </a:prstGeom>
          <a:solidFill>
            <a:srgbClr val="97298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87"/>
          </a:p>
        </p:txBody>
      </p:sp>
    </p:spTree>
    <p:extLst>
      <p:ext uri="{BB962C8B-B14F-4D97-AF65-F5344CB8AC3E}">
        <p14:creationId xmlns:p14="http://schemas.microsoft.com/office/powerpoint/2010/main" val="1140234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2" r:id="rId8"/>
  </p:sldLayoutIdLst>
  <p:hf hdr="0" dt="0"/>
  <p:txStyles>
    <p:titleStyle>
      <a:lvl1pPr algn="l" defTabSz="1008125" rtl="0" eaLnBrk="1" latinLnBrk="0" hangingPunct="1">
        <a:lnSpc>
          <a:spcPct val="90000"/>
        </a:lnSpc>
        <a:spcBef>
          <a:spcPct val="0"/>
        </a:spcBef>
        <a:buNone/>
        <a:defRPr sz="48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32" indent="-252032" algn="l" defTabSz="1008125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6095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60157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221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284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6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5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4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5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6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7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5" algn="l" defTabSz="1008125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82B8AD-EEC8-4136-B66D-203D13333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894" y="2223"/>
          <a:ext cx="894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95" imgH="394" progId="TCLayout.ActiveDocument.1">
                  <p:embed/>
                </p:oleObj>
              </mc:Choice>
              <mc:Fallback>
                <p:oleObj name="think-cell Slide" r:id="rId5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D82B8AD-EEC8-4136-B66D-203D13333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894" y="2223"/>
                        <a:ext cx="894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RACKINGCODE" hidden="1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467592" y="282388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5685905" y="203324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4675909" y="8754035"/>
            <a:ext cx="1714500" cy="6777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 userDrawn="1">
            <p:custDataLst>
              <p:tags r:id="rId54"/>
            </p:custDataLst>
          </p:nvPr>
        </p:nvSpPr>
        <p:spPr>
          <a:xfrm>
            <a:off x="6604086" y="9148561"/>
            <a:ext cx="253914" cy="361208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256567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  <p:sldLayoutId id="2147483810" r:id="rId38"/>
    <p:sldLayoutId id="2147483811" r:id="rId39"/>
    <p:sldLayoutId id="2147483812" r:id="rId40"/>
    <p:sldLayoutId id="2147483813" r:id="rId41"/>
    <p:sldLayoutId id="2147483814" r:id="rId42"/>
    <p:sldLayoutId id="2147483815" r:id="rId43"/>
    <p:sldLayoutId id="2147483816" r:id="rId44"/>
    <p:sldLayoutId id="2147483817" r:id="rId45"/>
    <p:sldLayoutId id="2147483819" r:id="rId46"/>
    <p:sldLayoutId id="2147483886" r:id="rId47"/>
  </p:sldLayoutIdLst>
  <p:hf hdr="0" ftr="0" dt="0"/>
  <p:txStyles>
    <p:titleStyle>
      <a:lvl1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95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94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90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86" algn="l" defTabSz="99152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400" indent="-222400" algn="l" defTabSz="991526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95" indent="-220854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49" indent="-21931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92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77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98" indent="-21622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86" indent="-225487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84" indent="-222400" algn="l" defTabSz="991526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9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94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9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86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81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79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575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370" algn="l" defTabSz="889594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 userDrawn="1">
          <p15:clr>
            <a:srgbClr val="F26B43"/>
          </p15:clr>
        </p15:guide>
        <p15:guide id="2" pos="1782" userDrawn="1">
          <p15:clr>
            <a:srgbClr val="F26B43"/>
          </p15:clr>
        </p15:guide>
        <p15:guide id="4" pos="243" userDrawn="1">
          <p15:clr>
            <a:srgbClr val="F26B43"/>
          </p15:clr>
        </p15:guide>
        <p15:guide id="5" orient="horz" pos="1142" userDrawn="1">
          <p15:clr>
            <a:srgbClr val="F26B43"/>
          </p15:clr>
        </p15:guide>
        <p15:guide id="6" orient="horz" pos="1478" userDrawn="1">
          <p15:clr>
            <a:srgbClr val="F26B43"/>
          </p15:clr>
        </p15:guide>
        <p15:guide id="7" orient="horz" pos="5914" userDrawn="1">
          <p15:clr>
            <a:srgbClr val="F26B43"/>
          </p15:clr>
        </p15:guide>
        <p15:guide id="8" orient="horz" pos="6182" userDrawn="1">
          <p15:clr>
            <a:srgbClr val="F26B43"/>
          </p15:clr>
        </p15:guide>
        <p15:guide id="9" orient="horz" pos="6451" userDrawn="1">
          <p15:clr>
            <a:srgbClr val="F26B43"/>
          </p15:clr>
        </p15:guide>
        <p15:guide id="10" pos="403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RACKINGCODE" hidden="1"/>
          <p:cNvSpPr txBox="1">
            <a:spLocks/>
          </p:cNvSpPr>
          <p:nvPr>
            <p:custDataLst>
              <p:tags r:id="rId50"/>
            </p:custDataLst>
          </p:nvPr>
        </p:nvSpPr>
        <p:spPr>
          <a:xfrm>
            <a:off x="467592" y="282393"/>
            <a:ext cx="5922819" cy="127675"/>
          </a:xfrm>
          <a:prstGeom prst="rect">
            <a:avLst/>
          </a:prstGeom>
        </p:spPr>
        <p:txBody>
          <a:bodyPr wrap="square" lIns="0" tIns="0" rIns="17791" bIns="17791">
            <a:sp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682" b="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STAMP" hidden="1"/>
          <p:cNvSpPr txBox="1">
            <a:spLocks/>
          </p:cNvSpPr>
          <p:nvPr>
            <p:custDataLst>
              <p:tags r:id="rId51"/>
            </p:custDataLst>
          </p:nvPr>
        </p:nvSpPr>
        <p:spPr>
          <a:xfrm>
            <a:off x="5685907" y="203328"/>
            <a:ext cx="704504" cy="451821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marL="228600" indent="-228600" algn="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800" b="1">
                <a:solidFill>
                  <a:srgbClr val="00395C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62" b="0" kern="0">
                <a:solidFill>
                  <a:srgbClr val="FF0000"/>
                </a:solidFill>
              </a:rPr>
              <a:t>STAMP</a:t>
            </a:r>
            <a:endParaRPr lang="en-US" sz="1362" b="0" kern="0" baseline="0">
              <a:solidFill>
                <a:srgbClr val="FF0000"/>
              </a:solidFill>
            </a:endParaRPr>
          </a:p>
        </p:txBody>
      </p:sp>
      <p:sp>
        <p:nvSpPr>
          <p:cNvPr id="7" name="CLOGO"/>
          <p:cNvSpPr txBox="1">
            <a:spLocks/>
          </p:cNvSpPr>
          <p:nvPr>
            <p:custDataLst>
              <p:tags r:id="rId52"/>
            </p:custDataLst>
          </p:nvPr>
        </p:nvSpPr>
        <p:spPr>
          <a:xfrm>
            <a:off x="4675909" y="8754043"/>
            <a:ext cx="1714500" cy="6777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17791" bIns="17791" anchor="ctr" anchorCtr="0"/>
          <a:lstStyle>
            <a:lvl1pPr marL="0" indent="0" algn="ctr" defTabSz="1019175" rtl="0" eaLnBrk="1" fontAlgn="base" hangingPunct="1">
              <a:lnSpc>
                <a:spcPct val="110000"/>
              </a:lnSpc>
              <a:spcBef>
                <a:spcPts val="1008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7013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2813" indent="-22542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4775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025" indent="-22225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31775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4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1019175" rtl="0" eaLnBrk="1" fontAlgn="base" hangingPunct="1">
              <a:lnSpc>
                <a:spcPct val="110000"/>
              </a:lnSpc>
              <a:spcBef>
                <a:spcPts val="33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62" kern="0">
              <a:ln>
                <a:solidFill>
                  <a:sysClr val="windowText" lastClr="000000"/>
                </a:solidFill>
              </a:ln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B6E65D-DF3A-6F4D-B1C5-3FC3D06287EF}"/>
              </a:ext>
            </a:extLst>
          </p:cNvPr>
          <p:cNvPicPr>
            <a:picLocks noChangeAspect="1"/>
          </p:cNvPicPr>
          <p:nvPr/>
        </p:nvPicPr>
        <p:blipFill>
          <a:blip r:embed="rId5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349" y="8919702"/>
            <a:ext cx="456057" cy="512064"/>
          </a:xfrm>
          <a:prstGeom prst="rect">
            <a:avLst/>
          </a:prstGeom>
        </p:spPr>
      </p:pic>
      <p:sp>
        <p:nvSpPr>
          <p:cNvPr id="6" name="PAGENUMBER">
            <a:extLst>
              <a:ext uri="{FF2B5EF4-FFF2-40B4-BE49-F238E27FC236}">
                <a16:creationId xmlns:a16="http://schemas.microsoft.com/office/drawing/2014/main" id="{6B135FA2-0643-B449-8A26-B5096B8A2EE9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>
          <a:xfrm>
            <a:off x="6604086" y="9148568"/>
            <a:ext cx="253914" cy="361210"/>
          </a:xfrm>
          <a:prstGeom prst="rect">
            <a:avLst/>
          </a:prstGeom>
        </p:spPr>
        <p:txBody>
          <a:bodyPr/>
          <a:lstStyle>
            <a:lvl1pPr marL="0" indent="0" algn="ctr" defTabSz="899320" rtl="0" eaLnBrk="1" fontAlgn="base" hangingPunct="1">
              <a:lnSpc>
                <a:spcPct val="110000"/>
              </a:lnSpc>
              <a:spcBef>
                <a:spcPts val="889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None/>
              <a:defRPr lang="en-US" sz="900">
                <a:solidFill>
                  <a:srgbClr val="9F9FA0"/>
                </a:solidFill>
                <a:latin typeface="+mn-lt"/>
                <a:ea typeface="+mn-ea"/>
                <a:cs typeface="+mn-cs"/>
              </a:defRPr>
            </a:lvl1pPr>
            <a:lvl2pPr marL="403433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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5150" indent="-200316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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5466" indent="-198915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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583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13101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Wingdings 2" pitchFamily="18" charset="2"/>
              <a:buChar char="¡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09215" indent="-196113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itchFamily="2" charset="2"/>
              <a:buChar char="w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13733" indent="-204518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 3" pitchFamily="18" charset="2"/>
              <a:buChar char=""/>
              <a:defRPr lang="en-US" sz="1235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15450" indent="-201717" algn="l" defTabSz="899320" rtl="0" eaLnBrk="1" fontAlgn="base" hangingPunct="1">
              <a:lnSpc>
                <a:spcPct val="110000"/>
              </a:lnSpc>
              <a:spcBef>
                <a:spcPts val="296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 2" pitchFamily="18" charset="2"/>
              <a:buChar char=""/>
              <a:defRPr lang="en-US" sz="1235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22973A4-6277-5241-8E39-DB432109DA46}" type="slidenum">
              <a:rPr lang="en-US" sz="993" kern="0" smtClean="0"/>
              <a:t>‹#›</a:t>
            </a:fld>
            <a:endParaRPr lang="en-US" sz="993" kern="0"/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135715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0" r:id="rId13"/>
    <p:sldLayoutId id="2147483901" r:id="rId14"/>
    <p:sldLayoutId id="2147483902" r:id="rId15"/>
    <p:sldLayoutId id="2147483903" r:id="rId16"/>
    <p:sldLayoutId id="2147483904" r:id="rId17"/>
    <p:sldLayoutId id="2147483905" r:id="rId18"/>
    <p:sldLayoutId id="2147483906" r:id="rId19"/>
    <p:sldLayoutId id="2147483907" r:id="rId20"/>
    <p:sldLayoutId id="2147483908" r:id="rId21"/>
    <p:sldLayoutId id="2147483909" r:id="rId22"/>
    <p:sldLayoutId id="2147483910" r:id="rId23"/>
    <p:sldLayoutId id="2147483911" r:id="rId24"/>
    <p:sldLayoutId id="2147483912" r:id="rId25"/>
    <p:sldLayoutId id="2147483913" r:id="rId26"/>
    <p:sldLayoutId id="2147483914" r:id="rId27"/>
    <p:sldLayoutId id="2147483915" r:id="rId28"/>
    <p:sldLayoutId id="2147483916" r:id="rId29"/>
    <p:sldLayoutId id="2147483917" r:id="rId30"/>
    <p:sldLayoutId id="2147483918" r:id="rId31"/>
    <p:sldLayoutId id="2147483919" r:id="rId32"/>
    <p:sldLayoutId id="2147483920" r:id="rId33"/>
    <p:sldLayoutId id="2147483921" r:id="rId34"/>
    <p:sldLayoutId id="2147483922" r:id="rId35"/>
    <p:sldLayoutId id="2147483923" r:id="rId36"/>
    <p:sldLayoutId id="2147483924" r:id="rId37"/>
    <p:sldLayoutId id="2147483925" r:id="rId38"/>
    <p:sldLayoutId id="2147483926" r:id="rId39"/>
    <p:sldLayoutId id="2147483927" r:id="rId40"/>
    <p:sldLayoutId id="2147483928" r:id="rId41"/>
    <p:sldLayoutId id="2147483929" r:id="rId42"/>
    <p:sldLayoutId id="2147483930" r:id="rId43"/>
    <p:sldLayoutId id="2147483931" r:id="rId44"/>
    <p:sldLayoutId id="2147483932" r:id="rId45"/>
    <p:sldLayoutId id="2147483933" r:id="rId46"/>
    <p:sldLayoutId id="2147483937" r:id="rId47"/>
  </p:sldLayoutIdLst>
  <p:hf hdr="0" ftr="0" dt="0"/>
  <p:txStyles>
    <p:titleStyle>
      <a:lvl1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+mj-lt"/>
          <a:ea typeface="+mj-ea"/>
          <a:cs typeface="+mj-cs"/>
        </a:defRPr>
      </a:lvl1pPr>
      <a:lvl2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4784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89570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34355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79141" algn="l" defTabSz="99150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724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2394" indent="-222394" algn="l" defTabSz="991501" rtl="0" eaLnBrk="1" fontAlgn="base" hangingPunct="1">
        <a:lnSpc>
          <a:spcPct val="110000"/>
        </a:lnSpc>
        <a:spcBef>
          <a:spcPts val="980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784" indent="-220849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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67180" indent="-220849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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88027" indent="-21930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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11961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337442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5000"/>
        <a:buFont typeface="Wingdings 2" pitchFamily="18" charset="2"/>
        <a:buChar char="¡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553658" indent="-216215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w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779141" indent="-225483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80000"/>
        <a:buFont typeface="Wingdings 3" pitchFamily="18" charset="2"/>
        <a:buChar char=""/>
        <a:defRPr lang="en-US" sz="1362" baseline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2001534" indent="-222394" algn="l" defTabSz="991501" rtl="0" eaLnBrk="1" fontAlgn="base" hangingPunct="1">
        <a:lnSpc>
          <a:spcPct val="110000"/>
        </a:lnSpc>
        <a:spcBef>
          <a:spcPts val="328"/>
        </a:spcBef>
        <a:spcAft>
          <a:spcPct val="0"/>
        </a:spcAft>
        <a:buClr>
          <a:schemeClr val="tx2"/>
        </a:buClr>
        <a:buSzPct val="100000"/>
        <a:buFont typeface="Wingdings 2" pitchFamily="18" charset="2"/>
        <a:buChar char=""/>
        <a:defRPr lang="en-US" sz="1362" dirty="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1pPr>
      <a:lvl2pPr marL="444784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2pPr>
      <a:lvl3pPr marL="889570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3pPr>
      <a:lvl4pPr marL="1334355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4pPr>
      <a:lvl5pPr marL="1779141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5pPr>
      <a:lvl6pPr marL="2223927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6pPr>
      <a:lvl7pPr marL="2668712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7pPr>
      <a:lvl8pPr marL="3113498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8pPr>
      <a:lvl9pPr marL="3558283" algn="l" defTabSz="889570" rtl="0" eaLnBrk="1" latinLnBrk="0" hangingPunct="1">
        <a:defRPr sz="17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928" userDrawn="1">
          <p15:clr>
            <a:srgbClr val="F26B43"/>
          </p15:clr>
        </p15:guide>
        <p15:guide id="2" pos="2376" userDrawn="1">
          <p15:clr>
            <a:srgbClr val="F26B43"/>
          </p15:clr>
        </p15:guide>
        <p15:guide id="4" pos="324" userDrawn="1">
          <p15:clr>
            <a:srgbClr val="F26B43"/>
          </p15:clr>
        </p15:guide>
        <p15:guide id="5" orient="horz" pos="1523" userDrawn="1">
          <p15:clr>
            <a:srgbClr val="F26B43"/>
          </p15:clr>
        </p15:guide>
        <p15:guide id="6" orient="horz" pos="1971" userDrawn="1">
          <p15:clr>
            <a:srgbClr val="F26B43"/>
          </p15:clr>
        </p15:guide>
        <p15:guide id="7" orient="horz" pos="7885" userDrawn="1">
          <p15:clr>
            <a:srgbClr val="F26B43"/>
          </p15:clr>
        </p15:guide>
        <p15:guide id="8" orient="horz" pos="8243" userDrawn="1">
          <p15:clr>
            <a:srgbClr val="F26B43"/>
          </p15:clr>
        </p15:guide>
        <p15:guide id="9" orient="horz" pos="8602" userDrawn="1">
          <p15:clr>
            <a:srgbClr val="F26B43"/>
          </p15:clr>
        </p15:guide>
        <p15:guide id="10" pos="53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8.xml"/><Relationship Id="rId5" Type="http://schemas.openxmlformats.org/officeDocument/2006/relationships/image" Target="../media/image30.png"/><Relationship Id="rId4" Type="http://schemas.openxmlformats.org/officeDocument/2006/relationships/image" Target="../media/image27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3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7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38.jpe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26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38.jpeg"/><Relationship Id="rId4" Type="http://schemas.openxmlformats.org/officeDocument/2006/relationships/image" Target="../media/image27.svg"/><Relationship Id="rId9" Type="http://schemas.openxmlformats.org/officeDocument/2006/relationships/image" Target="../media/image8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38.jpeg"/><Relationship Id="rId4" Type="http://schemas.openxmlformats.org/officeDocument/2006/relationships/image" Target="../media/image27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microsoft.com/office/2018/10/relationships/comments" Target="../comments/modernComment_118_527D1172.xml"/><Relationship Id="rId7" Type="http://schemas.openxmlformats.org/officeDocument/2006/relationships/image" Target="../media/image32.png"/><Relationship Id="rId12" Type="http://schemas.openxmlformats.org/officeDocument/2006/relationships/image" Target="../media/image8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38.jpeg"/><Relationship Id="rId11" Type="http://schemas.openxmlformats.org/officeDocument/2006/relationships/image" Target="../media/image85.png"/><Relationship Id="rId5" Type="http://schemas.openxmlformats.org/officeDocument/2006/relationships/image" Target="../media/image27.svg"/><Relationship Id="rId10" Type="http://schemas.openxmlformats.org/officeDocument/2006/relationships/image" Target="../media/image55.png"/><Relationship Id="rId4" Type="http://schemas.openxmlformats.org/officeDocument/2006/relationships/image" Target="../media/image26.png"/><Relationship Id="rId9" Type="http://schemas.openxmlformats.org/officeDocument/2006/relationships/image" Target="../media/image8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support.helpathome.com/hc/en-us/sections/24187486993687-Caregiver-Connect" TargetMode="External"/><Relationship Id="rId3" Type="http://schemas.openxmlformats.org/officeDocument/2006/relationships/image" Target="../media/image87.jpeg"/><Relationship Id="rId7" Type="http://schemas.openxmlformats.org/officeDocument/2006/relationships/hyperlink" Target="https://play.google.com/store/apps/details?id=com.helpathome.caregiver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8.xml"/><Relationship Id="rId6" Type="http://schemas.openxmlformats.org/officeDocument/2006/relationships/hyperlink" Target="https://apps.apple.com/us/app/help-at-home-caregiver/id6497407914" TargetMode="External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hyperlink" Target="https://support.helpathome.com/hc/en-us/articles/24626994924055-Caregiver-Connect-Training-Videos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7.png"/><Relationship Id="rId3" Type="http://schemas.openxmlformats.org/officeDocument/2006/relationships/image" Target="../media/image31.jpeg"/><Relationship Id="rId7" Type="http://schemas.openxmlformats.org/officeDocument/2006/relationships/image" Target="../media/image32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27.svg"/><Relationship Id="rId11" Type="http://schemas.openxmlformats.org/officeDocument/2006/relationships/hyperlink" Target="https://play.google.com/store/apps/details?id=com.helpathome.caregiver" TargetMode="External"/><Relationship Id="rId5" Type="http://schemas.openxmlformats.org/officeDocument/2006/relationships/image" Target="../media/image26.png"/><Relationship Id="rId10" Type="http://schemas.openxmlformats.org/officeDocument/2006/relationships/image" Target="../media/image35.png"/><Relationship Id="rId4" Type="http://schemas.openxmlformats.org/officeDocument/2006/relationships/hyperlink" Target="https://apps.apple.com/us/app/help-at-home-caregiver/id6497407914" TargetMode="External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jpeg"/><Relationship Id="rId3" Type="http://schemas.openxmlformats.org/officeDocument/2006/relationships/image" Target="../media/image26.png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32.png"/><Relationship Id="rId11" Type="http://schemas.openxmlformats.org/officeDocument/2006/relationships/image" Target="../media/image43.jpeg"/><Relationship Id="rId5" Type="http://schemas.openxmlformats.org/officeDocument/2006/relationships/image" Target="../media/image38.jpeg"/><Relationship Id="rId10" Type="http://schemas.openxmlformats.org/officeDocument/2006/relationships/image" Target="../media/image42.jpeg"/><Relationship Id="rId4" Type="http://schemas.openxmlformats.org/officeDocument/2006/relationships/image" Target="../media/image27.svg"/><Relationship Id="rId9" Type="http://schemas.openxmlformats.org/officeDocument/2006/relationships/image" Target="../media/image4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image" Target="../media/image26.png"/><Relationship Id="rId7" Type="http://schemas.openxmlformats.org/officeDocument/2006/relationships/image" Target="../media/image48.jpe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27.svg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18" Type="http://schemas.openxmlformats.org/officeDocument/2006/relationships/image" Target="../media/image65.svg"/><Relationship Id="rId3" Type="http://schemas.openxmlformats.org/officeDocument/2006/relationships/image" Target="../media/image26.png"/><Relationship Id="rId7" Type="http://schemas.openxmlformats.org/officeDocument/2006/relationships/image" Target="../media/image48.jpeg"/><Relationship Id="rId12" Type="http://schemas.openxmlformats.org/officeDocument/2006/relationships/image" Target="../media/image59.svg"/><Relationship Id="rId17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3.svg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47.svg"/><Relationship Id="rId11" Type="http://schemas.openxmlformats.org/officeDocument/2006/relationships/image" Target="../media/image58.png"/><Relationship Id="rId5" Type="http://schemas.openxmlformats.org/officeDocument/2006/relationships/image" Target="../media/image46.png"/><Relationship Id="rId15" Type="http://schemas.openxmlformats.org/officeDocument/2006/relationships/image" Target="../media/image62.png"/><Relationship Id="rId10" Type="http://schemas.openxmlformats.org/officeDocument/2006/relationships/image" Target="../media/image57.svg"/><Relationship Id="rId4" Type="http://schemas.openxmlformats.org/officeDocument/2006/relationships/image" Target="../media/image27.svg"/><Relationship Id="rId9" Type="http://schemas.openxmlformats.org/officeDocument/2006/relationships/image" Target="../media/image56.png"/><Relationship Id="rId14" Type="http://schemas.openxmlformats.org/officeDocument/2006/relationships/image" Target="../media/image6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microsoft.com/office/2018/10/relationships/comments" Target="../comments/modernComment_120_86DA3036.xml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6.png"/><Relationship Id="rId5" Type="http://schemas.openxmlformats.org/officeDocument/2006/relationships/image" Target="../media/image38.jpeg"/><Relationship Id="rId4" Type="http://schemas.openxmlformats.org/officeDocument/2006/relationships/image" Target="../media/image5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microsoft.com/office/2018/10/relationships/comments" Target="../comments/modernComment_124_E097A586.xml"/><Relationship Id="rId7" Type="http://schemas.openxmlformats.org/officeDocument/2006/relationships/image" Target="../media/image7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69.png"/><Relationship Id="rId5" Type="http://schemas.openxmlformats.org/officeDocument/2006/relationships/image" Target="../media/image55.png"/><Relationship Id="rId4" Type="http://schemas.openxmlformats.org/officeDocument/2006/relationships/image" Target="../media/image3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38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55.png"/><Relationship Id="rId5" Type="http://schemas.openxmlformats.org/officeDocument/2006/relationships/image" Target="../media/image27.svg"/><Relationship Id="rId10" Type="http://schemas.openxmlformats.org/officeDocument/2006/relationships/image" Target="../media/image74.png"/><Relationship Id="rId4" Type="http://schemas.openxmlformats.org/officeDocument/2006/relationships/image" Target="../media/image26.png"/><Relationship Id="rId9" Type="http://schemas.openxmlformats.org/officeDocument/2006/relationships/image" Target="../media/image7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microsoft.com/office/2018/10/relationships/comments" Target="../comments/modernComment_125_774AEAAB.xml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8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10" Type="http://schemas.openxmlformats.org/officeDocument/2006/relationships/image" Target="../media/image77.png"/><Relationship Id="rId4" Type="http://schemas.openxmlformats.org/officeDocument/2006/relationships/image" Target="../media/image38.jpeg"/><Relationship Id="rId9" Type="http://schemas.openxmlformats.org/officeDocument/2006/relationships/image" Target="../media/image7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E4D1707-E5D6-B9CE-69E4-AC09D514EB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92180" y="8247433"/>
            <a:ext cx="2073640" cy="1076918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253405CE-26C8-B6F1-8DC8-C135D195E898}"/>
              </a:ext>
            </a:extLst>
          </p:cNvPr>
          <p:cNvSpPr txBox="1">
            <a:spLocks/>
          </p:cNvSpPr>
          <p:nvPr/>
        </p:nvSpPr>
        <p:spPr>
          <a:xfrm>
            <a:off x="535874" y="5561004"/>
            <a:ext cx="5777319" cy="1890121"/>
          </a:xfrm>
        </p:spPr>
        <p:txBody>
          <a:bodyPr lIns="91440" tIns="45720" rIns="91440" bIns="45720" anchor="ctr" anchorCtr="0">
            <a:noAutofit/>
          </a:bodyPr>
          <a:lstStyle>
            <a:lvl1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5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44784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889570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34355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779141" algn="l" defTabSz="991501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724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pl-PL" sz="1800" b="1" kern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Aplikacja mobilna </a:t>
            </a:r>
            <a:r>
              <a:rPr lang="pl-PL" sz="1800" b="1" i="1" kern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Help at Home Caregiver Connect </a:t>
            </a:r>
            <a:r>
              <a:rPr lang="pl-PL" sz="1800" kern="0">
                <a:solidFill>
                  <a:schemeClr val="tx1">
                    <a:lumMod val="75000"/>
                  </a:schemeClr>
                </a:solidFill>
                <a:latin typeface="Fira Sans"/>
                <a:cs typeface="Calibri"/>
              </a:rPr>
              <a:t>zapewnia łatwiejszy dostęp do zasobów i potrzebnego wsparcia, dzięki czemu możesz skupić się wyłącznie na dbaniu o podopiecznych.</a:t>
            </a:r>
          </a:p>
          <a:p>
            <a:pPr algn="ctr"/>
            <a:endParaRPr lang="pl-PL" sz="2000" kern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endParaRPr lang="pl-PL" sz="2000" kern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endParaRPr lang="pl-PL" sz="2000" kern="0">
              <a:solidFill>
                <a:schemeClr val="tx1">
                  <a:lumMod val="75000"/>
                </a:schemeClr>
              </a:solidFill>
              <a:cs typeface="Calibri"/>
            </a:endParaRPr>
          </a:p>
          <a:p>
            <a:pPr algn="ctr"/>
            <a:r>
              <a:rPr lang="pl-PL" sz="1800" b="1" i="1" kern="0">
                <a:solidFill>
                  <a:schemeClr val="accent5"/>
                </a:solidFill>
                <a:latin typeface="Fira Sans"/>
                <a:cs typeface="Calibri"/>
              </a:rPr>
              <a:t>Pobierz i zarejestruj się już dziś.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2BA6D2-CC75-DBBB-561A-9867DF2A4148}"/>
              </a:ext>
            </a:extLst>
          </p:cNvPr>
          <p:cNvGrpSpPr/>
          <p:nvPr/>
        </p:nvGrpSpPr>
        <p:grpSpPr>
          <a:xfrm>
            <a:off x="-545910" y="-3466531"/>
            <a:ext cx="7874758" cy="7825656"/>
            <a:chOff x="-545910" y="-3466531"/>
            <a:chExt cx="7874758" cy="7825656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D529DBDA-B405-E688-91D0-EF616A705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37" r="8437" b="18094"/>
            <a:stretch/>
          </p:blipFill>
          <p:spPr>
            <a:xfrm>
              <a:off x="-409873" y="-617300"/>
              <a:ext cx="7602684" cy="4976425"/>
            </a:xfrm>
            <a:custGeom>
              <a:avLst/>
              <a:gdLst>
                <a:gd name="connsiteX0" fmla="*/ 12417 w 7602684"/>
                <a:gd name="connsiteY0" fmla="*/ 0 h 4976425"/>
                <a:gd name="connsiteX1" fmla="*/ 7590267 w 7602684"/>
                <a:gd name="connsiteY1" fmla="*/ 0 h 4976425"/>
                <a:gd name="connsiteX2" fmla="*/ 7602684 w 7602684"/>
                <a:gd name="connsiteY2" fmla="*/ 43453 h 4976425"/>
                <a:gd name="connsiteX3" fmla="*/ 7602684 w 7602684"/>
                <a:gd name="connsiteY3" fmla="*/ 2083741 h 4976425"/>
                <a:gd name="connsiteX4" fmla="*/ 7561704 w 7602684"/>
                <a:gd name="connsiteY4" fmla="*/ 2227152 h 4976425"/>
                <a:gd name="connsiteX5" fmla="*/ 3801342 w 7602684"/>
                <a:gd name="connsiteY5" fmla="*/ 4976425 h 4976425"/>
                <a:gd name="connsiteX6" fmla="*/ 40980 w 7602684"/>
                <a:gd name="connsiteY6" fmla="*/ 2227152 h 4976425"/>
                <a:gd name="connsiteX7" fmla="*/ 0 w 7602684"/>
                <a:gd name="connsiteY7" fmla="*/ 2083741 h 4976425"/>
                <a:gd name="connsiteX8" fmla="*/ 0 w 7602684"/>
                <a:gd name="connsiteY8" fmla="*/ 43454 h 4976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2684" h="4976425">
                  <a:moveTo>
                    <a:pt x="12417" y="0"/>
                  </a:moveTo>
                  <a:lnTo>
                    <a:pt x="7590267" y="0"/>
                  </a:lnTo>
                  <a:lnTo>
                    <a:pt x="7602684" y="43453"/>
                  </a:lnTo>
                  <a:lnTo>
                    <a:pt x="7602684" y="2083741"/>
                  </a:lnTo>
                  <a:lnTo>
                    <a:pt x="7561704" y="2227152"/>
                  </a:lnTo>
                  <a:cubicBezTo>
                    <a:pt x="7063187" y="3819942"/>
                    <a:pt x="5568167" y="4976425"/>
                    <a:pt x="3801342" y="4976425"/>
                  </a:cubicBezTo>
                  <a:cubicBezTo>
                    <a:pt x="2034517" y="4976425"/>
                    <a:pt x="539497" y="3819942"/>
                    <a:pt x="40980" y="2227152"/>
                  </a:cubicBezTo>
                  <a:lnTo>
                    <a:pt x="0" y="2083741"/>
                  </a:lnTo>
                  <a:lnTo>
                    <a:pt x="0" y="43454"/>
                  </a:lnTo>
                  <a:close/>
                </a:path>
              </a:pathLst>
            </a:custGeom>
          </p:spPr>
        </p:pic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41871011-2735-8C1D-128B-B91367272FF0}"/>
                </a:ext>
              </a:extLst>
            </p:cNvPr>
            <p:cNvSpPr/>
            <p:nvPr/>
          </p:nvSpPr>
          <p:spPr bwMode="auto">
            <a:xfrm>
              <a:off x="-545910" y="-3466531"/>
              <a:ext cx="7874758" cy="7825655"/>
            </a:xfrm>
            <a:prstGeom prst="flowChartConnector">
              <a:avLst/>
            </a:prstGeom>
            <a:solidFill>
              <a:schemeClr val="accent3">
                <a:alpha val="70000"/>
              </a:schemeClr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normalizeH="0" baseline="0">
                <a:ln>
                  <a:noFill/>
                </a:ln>
                <a:solidFill>
                  <a:schemeClr val="accent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04345A60-6D84-C9C0-944C-166FA2F85432}"/>
              </a:ext>
            </a:extLst>
          </p:cNvPr>
          <p:cNvSpPr txBox="1"/>
          <p:nvPr/>
        </p:nvSpPr>
        <p:spPr>
          <a:xfrm>
            <a:off x="-242468" y="1998370"/>
            <a:ext cx="7267873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l-PL" sz="2800" dirty="0">
                <a:solidFill>
                  <a:schemeClr val="bg1"/>
                </a:solidFill>
                <a:latin typeface="Fira Sans"/>
                <a:cs typeface="Calibri Light"/>
              </a:rPr>
              <a:t>Podstawy obsługi aplikacji mobilnej </a:t>
            </a:r>
            <a:br>
              <a:rPr lang="en-US" sz="2800" dirty="0">
                <a:solidFill>
                  <a:schemeClr val="bg1"/>
                </a:solidFill>
                <a:latin typeface="Fira Sans"/>
                <a:cs typeface="Calibri Light"/>
              </a:rPr>
            </a:br>
            <a:r>
              <a:rPr lang="pl-PL" sz="2800" i="1" dirty="0">
                <a:solidFill>
                  <a:schemeClr val="bg1"/>
                </a:solidFill>
                <a:latin typeface="Fira Sans"/>
                <a:cs typeface="Calibri Light"/>
              </a:rPr>
              <a:t>Help at Home</a:t>
            </a:r>
            <a:r>
              <a:rPr lang="pl-PL" sz="2800" dirty="0">
                <a:solidFill>
                  <a:schemeClr val="bg1"/>
                </a:solidFill>
                <a:latin typeface="Fira Sans"/>
                <a:cs typeface="Calibri Light"/>
              </a:rPr>
              <a:t> </a:t>
            </a:r>
            <a:r>
              <a:rPr lang="pl-PL" sz="2800" i="1" dirty="0">
                <a:solidFill>
                  <a:schemeClr val="bg1"/>
                </a:solidFill>
                <a:latin typeface="Fira Sans"/>
                <a:cs typeface="Calibri Light"/>
              </a:rPr>
              <a:t>Caregiver Connect 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39B4EB-C812-A1FF-2FF3-1BA97A90C2B8}"/>
              </a:ext>
            </a:extLst>
          </p:cNvPr>
          <p:cNvSpPr txBox="1"/>
          <p:nvPr/>
        </p:nvSpPr>
        <p:spPr>
          <a:xfrm>
            <a:off x="17848" y="1382892"/>
            <a:ext cx="6858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000" b="1">
                <a:solidFill>
                  <a:schemeClr val="bg1"/>
                </a:solidFill>
                <a:latin typeface="Fira Sans" panose="020B0503050000020004" pitchFamily="34" charset="0"/>
              </a:rPr>
              <a:t>Instrukcja dla opiekunów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7931F64-8B52-85F6-8F94-746C7335F345}"/>
              </a:ext>
            </a:extLst>
          </p:cNvPr>
          <p:cNvSpPr txBox="1"/>
          <p:nvPr/>
        </p:nvSpPr>
        <p:spPr>
          <a:xfrm>
            <a:off x="1152525" y="3085138"/>
            <a:ext cx="46672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racowana </a:t>
            </a:r>
            <a:r>
              <a:rPr lang="pl-PL" sz="16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zez</a:t>
            </a:r>
            <a:r>
              <a:rPr lang="pl-PL" sz="16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piekunów </a:t>
            </a:r>
            <a:r>
              <a:rPr lang="pl-PL" sz="16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la</a:t>
            </a:r>
            <a:r>
              <a:rPr lang="pl-PL" sz="16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piekunów</a:t>
            </a:r>
          </a:p>
        </p:txBody>
      </p:sp>
    </p:spTree>
    <p:extLst>
      <p:ext uri="{BB962C8B-B14F-4D97-AF65-F5344CB8AC3E}">
        <p14:creationId xmlns:p14="http://schemas.microsoft.com/office/powerpoint/2010/main" val="2311575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75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niosek o większą liczbę zmian</a:t>
            </a:r>
            <a:endParaRPr kumimoji="0" lang="pl-PL" sz="175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27ACB6B-C29A-D827-33BF-EA04834CA5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77FA416-B833-D668-0954-630D3F825DCB}"/>
              </a:ext>
            </a:extLst>
          </p:cNvPr>
          <p:cNvSpPr/>
          <p:nvPr/>
        </p:nvSpPr>
        <p:spPr bwMode="auto">
          <a:xfrm>
            <a:off x="1857468" y="4378670"/>
            <a:ext cx="519972" cy="15152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E4DB5B3-D427-BA95-B87F-90558C21724F}"/>
              </a:ext>
            </a:extLst>
          </p:cNvPr>
          <p:cNvSpPr txBox="1"/>
          <p:nvPr/>
        </p:nvSpPr>
        <p:spPr>
          <a:xfrm>
            <a:off x="1768926" y="4343569"/>
            <a:ext cx="719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000" b="1"/>
              <a:t>250,00 USD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BE3ED2-4465-7C49-C405-BE97F20F82B7}"/>
              </a:ext>
            </a:extLst>
          </p:cNvPr>
          <p:cNvSpPr/>
          <p:nvPr/>
        </p:nvSpPr>
        <p:spPr bwMode="auto">
          <a:xfrm>
            <a:off x="1916349" y="1997375"/>
            <a:ext cx="484246" cy="1550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F0A34E9-D186-2DF9-3844-95C0BF0D8A83}"/>
              </a:ext>
            </a:extLst>
          </p:cNvPr>
          <p:cNvSpPr txBox="1"/>
          <p:nvPr/>
        </p:nvSpPr>
        <p:spPr>
          <a:xfrm>
            <a:off x="1557545" y="1921627"/>
            <a:ext cx="71965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900" b="1">
                <a:solidFill>
                  <a:schemeClr val="accent3"/>
                </a:solidFill>
              </a:rPr>
              <a:t>250,00 US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9A8A66-E2E6-D2EB-6C99-76B5D2395D71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l-PL" sz="800" b="1">
                <a:solidFill>
                  <a:schemeClr val="accent3"/>
                </a:solidFill>
              </a:rPr>
              <a:t>250,00 USD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73857B-77B7-EF3E-90B8-5C4945AE5BAD}"/>
              </a:ext>
            </a:extLst>
          </p:cNvPr>
          <p:cNvGrpSpPr/>
          <p:nvPr/>
        </p:nvGrpSpPr>
        <p:grpSpPr>
          <a:xfrm>
            <a:off x="4249440" y="2616062"/>
            <a:ext cx="2246853" cy="908852"/>
            <a:chOff x="2577465" y="1416599"/>
            <a:chExt cx="2246853" cy="90885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9010E1-BE2B-80F5-DE00-1E630D801B8A}"/>
                </a:ext>
              </a:extLst>
            </p:cNvPr>
            <p:cNvSpPr txBox="1"/>
            <p:nvPr/>
          </p:nvSpPr>
          <p:spPr>
            <a:xfrm>
              <a:off x="2760346" y="1586787"/>
              <a:ext cx="2063972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</a:t>
              </a:r>
              <a:r>
                <a:rPr lang="pl-PL" sz="1300" b="1" dirty="0">
                  <a:latin typeface="Fira Sans" panose="020B0503050000020004" pitchFamily="34" charset="0"/>
                </a:rPr>
                <a:t> </a:t>
              </a:r>
              <a:br>
                <a:rPr lang="en-US" sz="1300" b="1" dirty="0">
                  <a:latin typeface="Fira Sans" panose="020B0503050000020004" pitchFamily="34" charset="0"/>
                </a:rPr>
              </a:br>
              <a:r>
                <a:rPr lang="pl-PL" sz="1300" b="1" dirty="0">
                  <a:latin typeface="Fira Sans" panose="020B0503050000020004" pitchFamily="34" charset="0"/>
                </a:rPr>
                <a:t>Poproś o więcej zmian</a:t>
              </a:r>
              <a:endParaRPr lang="pl-PL" sz="1300" dirty="0">
                <a:latin typeface="Fira Sans" panose="020B0503050000020004" pitchFamily="34" charset="0"/>
              </a:endParaRPr>
            </a:p>
          </p:txBody>
        </p:sp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65239E2D-CAF2-584F-F69B-1C9F7EE5CF2A}"/>
                </a:ext>
              </a:extLst>
            </p:cNvPr>
            <p:cNvSpPr/>
            <p:nvPr/>
          </p:nvSpPr>
          <p:spPr bwMode="auto">
            <a:xfrm>
              <a:off x="2577465" y="141659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A14C2E81-FC9C-E53A-6B84-8769C50E77F2}"/>
              </a:ext>
            </a:extLst>
          </p:cNvPr>
          <p:cNvSpPr/>
          <p:nvPr/>
        </p:nvSpPr>
        <p:spPr bwMode="auto">
          <a:xfrm>
            <a:off x="3982251" y="8629432"/>
            <a:ext cx="1939638" cy="3320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37839C3-C557-AAD8-E012-D193916036A8}"/>
              </a:ext>
            </a:extLst>
          </p:cNvPr>
          <p:cNvSpPr/>
          <p:nvPr/>
        </p:nvSpPr>
        <p:spPr bwMode="auto">
          <a:xfrm>
            <a:off x="3957120" y="6170244"/>
            <a:ext cx="1969395" cy="39060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CD9F8-72C5-4DCF-4214-EE9DE91DB862}"/>
              </a:ext>
            </a:extLst>
          </p:cNvPr>
          <p:cNvGrpSpPr/>
          <p:nvPr/>
        </p:nvGrpSpPr>
        <p:grpSpPr>
          <a:xfrm>
            <a:off x="1082041" y="7096558"/>
            <a:ext cx="2895584" cy="1615435"/>
            <a:chOff x="2355071" y="1462023"/>
            <a:chExt cx="2895584" cy="161543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8F0094-56F2-5AB1-D132-183739A4EBA1}"/>
                </a:ext>
              </a:extLst>
            </p:cNvPr>
            <p:cNvSpPr txBox="1"/>
            <p:nvPr/>
          </p:nvSpPr>
          <p:spPr>
            <a:xfrm>
              <a:off x="2355071" y="1627444"/>
              <a:ext cx="2743804" cy="145001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Wpisz swój </a:t>
              </a:r>
              <a:r>
                <a:rPr lang="pl-PL" sz="1300" b="1" dirty="0">
                  <a:latin typeface="Fira Sans" panose="020B0503050000020004" pitchFamily="34" charset="0"/>
                </a:rPr>
                <a:t>oddział</a:t>
              </a:r>
              <a:r>
                <a:rPr lang="pl-PL" sz="1300" dirty="0">
                  <a:latin typeface="Fira Sans" panose="020B0503050000020004" pitchFamily="34" charset="0"/>
                </a:rPr>
                <a:t> i wskaż </a:t>
              </a:r>
              <a:r>
                <a:rPr lang="pl-PL" sz="1300" b="1" dirty="0">
                  <a:latin typeface="Fira Sans" panose="020B0503050000020004" pitchFamily="34" charset="0"/>
                </a:rPr>
                <a:t>dni</a:t>
              </a:r>
              <a:r>
                <a:rPr lang="pl-PL" sz="1300" dirty="0">
                  <a:latin typeface="Fira Sans" panose="020B0503050000020004" pitchFamily="34" charset="0"/>
                </a:rPr>
                <a:t> oraz </a:t>
              </a:r>
              <a:r>
                <a:rPr lang="pl-PL" sz="1300" b="1" dirty="0">
                  <a:latin typeface="Fira Sans" panose="020B0503050000020004" pitchFamily="34" charset="0"/>
                </a:rPr>
                <a:t>przedziały czasowe</a:t>
              </a:r>
              <a:r>
                <a:rPr lang="pl-PL" sz="1300" dirty="0">
                  <a:latin typeface="Fira Sans" panose="020B0503050000020004" pitchFamily="34" charset="0"/>
                </a:rPr>
                <a:t>, w jakich chcesz pracować w godzinach nadliczbowych, a następnie kliknij </a:t>
              </a:r>
              <a:r>
                <a:rPr lang="pl-PL" sz="1300" b="1" dirty="0">
                  <a:latin typeface="Fira Sans" panose="020B0503050000020004" pitchFamily="34" charset="0"/>
                </a:rPr>
                <a:t>Prześlij </a:t>
              </a:r>
              <a:r>
                <a:rPr lang="pl-PL" sz="1300" dirty="0">
                  <a:latin typeface="Fira Sans" panose="020B0503050000020004" pitchFamily="34" charset="0"/>
                </a:rPr>
                <a:t>– oddział zapozna się z wnioskiem i skontaktuje się z Tobą w sprawie kolejnych kroków</a:t>
              </a:r>
              <a:endParaRPr lang="pl-PL" sz="1300" b="1" dirty="0">
                <a:latin typeface="Fira Sans" panose="020B0503050000020004" pitchFamily="34" charset="0"/>
              </a:endParaRP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A084B2F1-7FC5-0877-AA87-687F99300A21}"/>
                </a:ext>
              </a:extLst>
            </p:cNvPr>
            <p:cNvSpPr/>
            <p:nvPr/>
          </p:nvSpPr>
          <p:spPr bwMode="auto">
            <a:xfrm>
              <a:off x="4884895" y="14620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E499EC-4EF2-D229-AC30-A660FF77D591}"/>
              </a:ext>
            </a:extLst>
          </p:cNvPr>
          <p:cNvGrpSpPr/>
          <p:nvPr/>
        </p:nvGrpSpPr>
        <p:grpSpPr>
          <a:xfrm>
            <a:off x="2518298" y="1067622"/>
            <a:ext cx="2369209" cy="831489"/>
            <a:chOff x="2758354" y="1493962"/>
            <a:chExt cx="2369209" cy="83148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77D17C-582B-4C71-4B96-494F8B89D209}"/>
                </a:ext>
              </a:extLst>
            </p:cNvPr>
            <p:cNvSpPr txBox="1"/>
            <p:nvPr/>
          </p:nvSpPr>
          <p:spPr>
            <a:xfrm>
              <a:off x="2926560" y="1586787"/>
              <a:ext cx="2201003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br>
                <a:rPr lang="en-US" sz="1300" dirty="0">
                  <a:latin typeface="Fira Sans" panose="020B0503050000020004" pitchFamily="34" charset="0"/>
                </a:rPr>
              </a:br>
              <a:r>
                <a:rPr lang="pl-PL" sz="1300" b="1" dirty="0">
                  <a:latin typeface="Fira Sans" panose="020B0503050000020004" pitchFamily="34" charset="0"/>
                </a:rPr>
                <a:t>Zobacz odcinki wypłat</a:t>
              </a:r>
              <a:endParaRPr lang="pl-PL" sz="1300" dirty="0">
                <a:latin typeface="Fira Sans" panose="020B0503050000020004" pitchFamily="34" charset="0"/>
              </a:endParaRPr>
            </a:p>
          </p:txBody>
        </p:sp>
        <p:sp>
          <p:nvSpPr>
            <p:cNvPr id="16" name="Flowchart: Connector 15">
              <a:extLst>
                <a:ext uri="{FF2B5EF4-FFF2-40B4-BE49-F238E27FC236}">
                  <a16:creationId xmlns:a16="http://schemas.microsoft.com/office/drawing/2014/main" id="{89AFADCA-9D1B-FF83-778C-0A543898CD0A}"/>
                </a:ext>
              </a:extLst>
            </p:cNvPr>
            <p:cNvSpPr/>
            <p:nvPr/>
          </p:nvSpPr>
          <p:spPr bwMode="auto">
            <a:xfrm>
              <a:off x="2758354" y="149396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D7D7D65-E2AE-E127-C11A-D62FCEA9FE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574" y="1325533"/>
            <a:ext cx="2186963" cy="4438932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F5CD3DD0-E5F7-01B5-DF82-E9D34D0A8E4D}"/>
              </a:ext>
            </a:extLst>
          </p:cNvPr>
          <p:cNvSpPr/>
          <p:nvPr/>
        </p:nvSpPr>
        <p:spPr bwMode="auto">
          <a:xfrm>
            <a:off x="558713" y="2590791"/>
            <a:ext cx="1477093" cy="2902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4DA2009-A006-EC9A-CE94-4601D4395C95}"/>
              </a:ext>
            </a:extLst>
          </p:cNvPr>
          <p:cNvGrpSpPr/>
          <p:nvPr/>
        </p:nvGrpSpPr>
        <p:grpSpPr>
          <a:xfrm>
            <a:off x="2104709" y="2668699"/>
            <a:ext cx="2127195" cy="4368424"/>
            <a:chOff x="8045428" y="1324839"/>
            <a:chExt cx="2190120" cy="4374223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8E07D70-9900-4CCA-BE86-EC525C28B384}"/>
                </a:ext>
              </a:extLst>
            </p:cNvPr>
            <p:cNvGrpSpPr/>
            <p:nvPr/>
          </p:nvGrpSpPr>
          <p:grpSpPr>
            <a:xfrm>
              <a:off x="8045428" y="1324839"/>
              <a:ext cx="2190120" cy="4374223"/>
              <a:chOff x="8045428" y="1324839"/>
              <a:chExt cx="2190120" cy="4374223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180B2FB6-3AC8-4B1A-8F94-C502A91463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45428" y="1324839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7" name="Picture 2">
                <a:extLst>
                  <a:ext uri="{FF2B5EF4-FFF2-40B4-BE49-F238E27FC236}">
                    <a16:creationId xmlns:a16="http://schemas.microsoft.com/office/drawing/2014/main" id="{00FF7458-F47A-911F-9921-A839D67120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4895" y="1455575"/>
                <a:ext cx="1968808" cy="4086809"/>
              </a:xfrm>
              <a:prstGeom prst="roundRect">
                <a:avLst/>
              </a:prstGeom>
              <a:ln w="19050"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CA7738C-8457-2E32-716F-919EBBD0A38D}"/>
                </a:ext>
              </a:extLst>
            </p:cNvPr>
            <p:cNvSpPr/>
            <p:nvPr/>
          </p:nvSpPr>
          <p:spPr bwMode="auto">
            <a:xfrm>
              <a:off x="8210526" y="3534956"/>
              <a:ext cx="1816855" cy="299248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pl-PL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264B5EC-0647-BFC7-FE51-7DE5914AD1F8}"/>
              </a:ext>
            </a:extLst>
          </p:cNvPr>
          <p:cNvGrpSpPr/>
          <p:nvPr/>
        </p:nvGrpSpPr>
        <p:grpSpPr>
          <a:xfrm>
            <a:off x="4039976" y="4809812"/>
            <a:ext cx="2127195" cy="4368424"/>
            <a:chOff x="9620915" y="3022278"/>
            <a:chExt cx="2127195" cy="4368424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6180DFE3-3F62-33F3-C84B-2E7D95DF16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20915" y="3022278"/>
              <a:ext cx="2127195" cy="4368424"/>
            </a:xfrm>
            <a:prstGeom prst="roundRect">
              <a:avLst/>
            </a:prstGeom>
          </p:spPr>
        </p:pic>
        <p:pic>
          <p:nvPicPr>
            <p:cNvPr id="2052" name="Picture 4">
              <a:extLst>
                <a:ext uri="{FF2B5EF4-FFF2-40B4-BE49-F238E27FC236}">
                  <a16:creationId xmlns:a16="http://schemas.microsoft.com/office/drawing/2014/main" id="{A757ACF0-C4D2-B7EF-5734-A0E82E5DB5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2213" y="3120921"/>
              <a:ext cx="1883730" cy="4147626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24504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-5118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8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głaszanie błędów zmiany</a:t>
            </a:r>
            <a:endParaRPr kumimoji="0" lang="pl-PL" sz="18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27ACB6B-C29A-D827-33BF-EA04834CA5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377FA416-B833-D668-0954-630D3F825DCB}"/>
              </a:ext>
            </a:extLst>
          </p:cNvPr>
          <p:cNvSpPr/>
          <p:nvPr/>
        </p:nvSpPr>
        <p:spPr bwMode="auto">
          <a:xfrm>
            <a:off x="1857468" y="4378670"/>
            <a:ext cx="519972" cy="15152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CBE3ED2-4465-7C49-C405-BE97F20F82B7}"/>
              </a:ext>
            </a:extLst>
          </p:cNvPr>
          <p:cNvSpPr/>
          <p:nvPr/>
        </p:nvSpPr>
        <p:spPr bwMode="auto">
          <a:xfrm>
            <a:off x="1916349" y="1997375"/>
            <a:ext cx="484246" cy="1550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73857B-77B7-EF3E-90B8-5C4945AE5BAD}"/>
              </a:ext>
            </a:extLst>
          </p:cNvPr>
          <p:cNvGrpSpPr/>
          <p:nvPr/>
        </p:nvGrpSpPr>
        <p:grpSpPr>
          <a:xfrm>
            <a:off x="4429320" y="2616062"/>
            <a:ext cx="2246852" cy="908852"/>
            <a:chOff x="2577465" y="1416599"/>
            <a:chExt cx="2246852" cy="908852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29010E1-BE2B-80F5-DE00-1E630D801B8A}"/>
                </a:ext>
              </a:extLst>
            </p:cNvPr>
            <p:cNvSpPr txBox="1"/>
            <p:nvPr/>
          </p:nvSpPr>
          <p:spPr>
            <a:xfrm>
              <a:off x="2683480" y="1586787"/>
              <a:ext cx="2140837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</a:t>
              </a:r>
              <a:r>
                <a:rPr lang="pl-PL" sz="1300" b="1" dirty="0">
                  <a:latin typeface="Fira Sans" panose="020B0503050000020004" pitchFamily="34" charset="0"/>
                </a:rPr>
                <a:t> </a:t>
              </a:r>
              <a:br>
                <a:rPr lang="en-US" sz="1300" b="1" dirty="0">
                  <a:latin typeface="Fira Sans" panose="020B0503050000020004" pitchFamily="34" charset="0"/>
                </a:rPr>
              </a:br>
              <a:r>
                <a:rPr lang="pl-PL" sz="1300" b="1" dirty="0">
                  <a:latin typeface="Fira Sans" panose="020B0503050000020004" pitchFamily="34" charset="0"/>
                </a:rPr>
                <a:t>Powiadom o błędzie zmiany</a:t>
              </a:r>
              <a:endParaRPr lang="pl-PL" sz="1300" dirty="0">
                <a:latin typeface="Fira Sans" panose="020B0503050000020004" pitchFamily="34" charset="0"/>
              </a:endParaRPr>
            </a:p>
          </p:txBody>
        </p:sp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65239E2D-CAF2-584F-F69B-1C9F7EE5CF2A}"/>
                </a:ext>
              </a:extLst>
            </p:cNvPr>
            <p:cNvSpPr/>
            <p:nvPr/>
          </p:nvSpPr>
          <p:spPr bwMode="auto">
            <a:xfrm>
              <a:off x="2577465" y="1416599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CD9F8-72C5-4DCF-4214-EE9DE91DB862}"/>
              </a:ext>
            </a:extLst>
          </p:cNvPr>
          <p:cNvGrpSpPr/>
          <p:nvPr/>
        </p:nvGrpSpPr>
        <p:grpSpPr>
          <a:xfrm>
            <a:off x="1155553" y="7096558"/>
            <a:ext cx="2822072" cy="1615435"/>
            <a:chOff x="2428583" y="1462023"/>
            <a:chExt cx="2822072" cy="161543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48F0094-56F2-5AB1-D132-183739A4EBA1}"/>
                </a:ext>
              </a:extLst>
            </p:cNvPr>
            <p:cNvSpPr txBox="1"/>
            <p:nvPr/>
          </p:nvSpPr>
          <p:spPr>
            <a:xfrm>
              <a:off x="2428583" y="1627444"/>
              <a:ext cx="2670291" cy="145001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Wprowadź swój </a:t>
              </a:r>
              <a:r>
                <a:rPr lang="pl-PL" sz="1300" b="1" dirty="0">
                  <a:latin typeface="Fira Sans" panose="020B0503050000020004" pitchFamily="34" charset="0"/>
                </a:rPr>
                <a:t>harmonogram i podaj dni oraz przedziały czasowe</a:t>
              </a:r>
              <a:r>
                <a:rPr lang="pl-PL" sz="1300" dirty="0">
                  <a:latin typeface="Fira Sans" panose="020B0503050000020004" pitchFamily="34" charset="0"/>
                </a:rPr>
                <a:t>, w jakich należy poprawić zmiany – przedstawiciel oddziału podejmie dalsze działania i naprawi błąd.</a:t>
              </a:r>
            </a:p>
          </p:txBody>
        </p:sp>
        <p:sp>
          <p:nvSpPr>
            <p:cNvPr id="25" name="Flowchart: Connector 24">
              <a:extLst>
                <a:ext uri="{FF2B5EF4-FFF2-40B4-BE49-F238E27FC236}">
                  <a16:creationId xmlns:a16="http://schemas.microsoft.com/office/drawing/2014/main" id="{A084B2F1-7FC5-0877-AA87-687F99300A21}"/>
                </a:ext>
              </a:extLst>
            </p:cNvPr>
            <p:cNvSpPr/>
            <p:nvPr/>
          </p:nvSpPr>
          <p:spPr bwMode="auto">
            <a:xfrm>
              <a:off x="4884895" y="14620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E499EC-4EF2-D229-AC30-A660FF77D591}"/>
              </a:ext>
            </a:extLst>
          </p:cNvPr>
          <p:cNvGrpSpPr/>
          <p:nvPr/>
        </p:nvGrpSpPr>
        <p:grpSpPr>
          <a:xfrm>
            <a:off x="2518298" y="1067622"/>
            <a:ext cx="2369209" cy="831489"/>
            <a:chOff x="2758354" y="1493962"/>
            <a:chExt cx="2369209" cy="831489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977D17C-582B-4C71-4B96-494F8B89D209}"/>
                </a:ext>
              </a:extLst>
            </p:cNvPr>
            <p:cNvSpPr txBox="1"/>
            <p:nvPr/>
          </p:nvSpPr>
          <p:spPr>
            <a:xfrm>
              <a:off x="2926560" y="1586787"/>
              <a:ext cx="2201003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r>
                <a:rPr lang="pl-PL" sz="1300" b="1" dirty="0">
                  <a:latin typeface="Fira Sans" panose="020B0503050000020004" pitchFamily="34" charset="0"/>
                </a:rPr>
                <a:t>Zobacz harmonogram</a:t>
              </a:r>
              <a:endParaRPr lang="pl-PL" sz="1300" dirty="0">
                <a:latin typeface="Fira Sans" panose="020B0503050000020004" pitchFamily="34" charset="0"/>
              </a:endParaRPr>
            </a:p>
          </p:txBody>
        </p:sp>
        <p:sp>
          <p:nvSpPr>
            <p:cNvPr id="16" name="Flowchart: Connector 15">
              <a:extLst>
                <a:ext uri="{FF2B5EF4-FFF2-40B4-BE49-F238E27FC236}">
                  <a16:creationId xmlns:a16="http://schemas.microsoft.com/office/drawing/2014/main" id="{89AFADCA-9D1B-FF83-778C-0A543898CD0A}"/>
                </a:ext>
              </a:extLst>
            </p:cNvPr>
            <p:cNvSpPr/>
            <p:nvPr/>
          </p:nvSpPr>
          <p:spPr bwMode="auto">
            <a:xfrm>
              <a:off x="2758354" y="149396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8" name="Oval 27">
            <a:extLst>
              <a:ext uri="{FF2B5EF4-FFF2-40B4-BE49-F238E27FC236}">
                <a16:creationId xmlns:a16="http://schemas.microsoft.com/office/drawing/2014/main" id="{A14C2E81-FC9C-E53A-6B84-8769C50E77F2}"/>
              </a:ext>
            </a:extLst>
          </p:cNvPr>
          <p:cNvSpPr/>
          <p:nvPr/>
        </p:nvSpPr>
        <p:spPr bwMode="auto">
          <a:xfrm>
            <a:off x="2344288" y="4953398"/>
            <a:ext cx="1939638" cy="33200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A2DA3AF-01CF-67D8-9779-915EA5F64DB1}"/>
              </a:ext>
            </a:extLst>
          </p:cNvPr>
          <p:cNvSpPr/>
          <p:nvPr/>
        </p:nvSpPr>
        <p:spPr bwMode="auto">
          <a:xfrm>
            <a:off x="4181434" y="5702456"/>
            <a:ext cx="2260787" cy="59908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08E4933-7029-4D1B-3D83-217D5B10EC58}"/>
              </a:ext>
            </a:extLst>
          </p:cNvPr>
          <p:cNvSpPr/>
          <p:nvPr/>
        </p:nvSpPr>
        <p:spPr bwMode="auto">
          <a:xfrm>
            <a:off x="4181434" y="7213364"/>
            <a:ext cx="2260787" cy="59908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BE8411A-80A1-EA60-B47A-639BD572D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828" y="879349"/>
            <a:ext cx="2136426" cy="4552465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D37839C3-C557-AAD8-E012-D193916036A8}"/>
              </a:ext>
            </a:extLst>
          </p:cNvPr>
          <p:cNvSpPr/>
          <p:nvPr/>
        </p:nvSpPr>
        <p:spPr bwMode="auto">
          <a:xfrm>
            <a:off x="220030" y="3812812"/>
            <a:ext cx="1159065" cy="28460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10">
            <a:extLst>
              <a:ext uri="{FF2B5EF4-FFF2-40B4-BE49-F238E27FC236}">
                <a16:creationId xmlns:a16="http://schemas.microsoft.com/office/drawing/2014/main" id="{E664F4D6-92A2-63E2-5845-4BBE723C40C6}"/>
              </a:ext>
            </a:extLst>
          </p:cNvPr>
          <p:cNvGrpSpPr/>
          <p:nvPr/>
        </p:nvGrpSpPr>
        <p:grpSpPr>
          <a:xfrm>
            <a:off x="2211963" y="2518430"/>
            <a:ext cx="2260788" cy="4552465"/>
            <a:chOff x="0" y="0"/>
            <a:chExt cx="3929993" cy="7694996"/>
          </a:xfrm>
        </p:grpSpPr>
        <p:sp>
          <p:nvSpPr>
            <p:cNvPr id="3" name="Freeform 11">
              <a:extLst>
                <a:ext uri="{FF2B5EF4-FFF2-40B4-BE49-F238E27FC236}">
                  <a16:creationId xmlns:a16="http://schemas.microsoft.com/office/drawing/2014/main" id="{F44025F7-C2A0-92A8-29F6-C269B3990080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pl-PL"/>
            </a:p>
          </p:txBody>
        </p:sp>
      </p:grpSp>
      <p:sp>
        <p:nvSpPr>
          <p:cNvPr id="7" name="Freeform 3">
            <a:extLst>
              <a:ext uri="{FF2B5EF4-FFF2-40B4-BE49-F238E27FC236}">
                <a16:creationId xmlns:a16="http://schemas.microsoft.com/office/drawing/2014/main" id="{A43F3E79-AB97-B038-CC9C-4814F81C239E}"/>
              </a:ext>
            </a:extLst>
          </p:cNvPr>
          <p:cNvSpPr/>
          <p:nvPr/>
        </p:nvSpPr>
        <p:spPr>
          <a:xfrm>
            <a:off x="4128214" y="4591407"/>
            <a:ext cx="2344725" cy="4915726"/>
          </a:xfrm>
          <a:custGeom>
            <a:avLst/>
            <a:gdLst/>
            <a:ahLst/>
            <a:cxnLst/>
            <a:rect l="l" t="t" r="r" b="b"/>
            <a:pathLst>
              <a:path w="6038988" h="11824447">
                <a:moveTo>
                  <a:pt x="0" y="0"/>
                </a:moveTo>
                <a:lnTo>
                  <a:pt x="6038988" y="0"/>
                </a:lnTo>
                <a:lnTo>
                  <a:pt x="6038988" y="11824447"/>
                </a:lnTo>
                <a:lnTo>
                  <a:pt x="0" y="11824447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0FEA4C2-A8DE-912C-4EB6-7E3E7B66AABF}"/>
              </a:ext>
            </a:extLst>
          </p:cNvPr>
          <p:cNvSpPr/>
          <p:nvPr/>
        </p:nvSpPr>
        <p:spPr bwMode="auto">
          <a:xfrm>
            <a:off x="2635680" y="5020475"/>
            <a:ext cx="1159065" cy="28460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2CD86F-13F4-7F3F-CDB3-9A73414572AF}"/>
              </a:ext>
            </a:extLst>
          </p:cNvPr>
          <p:cNvSpPr/>
          <p:nvPr/>
        </p:nvSpPr>
        <p:spPr bwMode="auto">
          <a:xfrm>
            <a:off x="4181434" y="5685965"/>
            <a:ext cx="2207568" cy="66799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1032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zeglądanie klientów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CD6534-0BFC-C398-645B-5C66E5629F48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l-PL" sz="800" b="1">
                <a:solidFill>
                  <a:schemeClr val="accent3"/>
                </a:solidFill>
              </a:rPr>
              <a:t>250,00 US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8DF819-B224-AE4C-EA7C-0D0D9964DE26}"/>
              </a:ext>
            </a:extLst>
          </p:cNvPr>
          <p:cNvGrpSpPr/>
          <p:nvPr/>
        </p:nvGrpSpPr>
        <p:grpSpPr>
          <a:xfrm>
            <a:off x="4267977" y="2836354"/>
            <a:ext cx="2487541" cy="921543"/>
            <a:chOff x="4187717" y="2485143"/>
            <a:chExt cx="2487541" cy="921543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02EDD1-1428-7AEA-54B0-CBC3B4AC3244}"/>
                </a:ext>
              </a:extLst>
            </p:cNvPr>
            <p:cNvSpPr txBox="1"/>
            <p:nvPr/>
          </p:nvSpPr>
          <p:spPr>
            <a:xfrm>
              <a:off x="4450522" y="2668023"/>
              <a:ext cx="2224736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</a:t>
              </a:r>
              <a:r>
                <a:rPr lang="pl-PL" sz="1300" b="1" dirty="0">
                  <a:latin typeface="Fira Sans" panose="020B0503050000020004" pitchFamily="34" charset="0"/>
                </a:rPr>
                <a:t> Zobacz dojazd</a:t>
              </a:r>
              <a:r>
                <a:rPr lang="pl-PL" sz="1300" dirty="0">
                  <a:latin typeface="Fira Sans" panose="020B0503050000020004" pitchFamily="34" charset="0"/>
                </a:rPr>
                <a:t>, aby wyświetlić drogi dojazdu do lokalizacji klienta</a:t>
              </a:r>
            </a:p>
          </p:txBody>
        </p:sp>
        <p:sp>
          <p:nvSpPr>
            <p:cNvPr id="11" name="Flowchart: Connector 10">
              <a:extLst>
                <a:ext uri="{FF2B5EF4-FFF2-40B4-BE49-F238E27FC236}">
                  <a16:creationId xmlns:a16="http://schemas.microsoft.com/office/drawing/2014/main" id="{2E9D7565-4296-8DD5-4058-DE28E561ABCD}"/>
                </a:ext>
              </a:extLst>
            </p:cNvPr>
            <p:cNvSpPr/>
            <p:nvPr/>
          </p:nvSpPr>
          <p:spPr bwMode="auto">
            <a:xfrm>
              <a:off x="4187717" y="248514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DFCE0E-EA5B-948C-DD7A-BB6CCCB76198}"/>
              </a:ext>
            </a:extLst>
          </p:cNvPr>
          <p:cNvGrpSpPr/>
          <p:nvPr/>
        </p:nvGrpSpPr>
        <p:grpSpPr>
          <a:xfrm>
            <a:off x="1155512" y="7566445"/>
            <a:ext cx="2664633" cy="902528"/>
            <a:chOff x="2663021" y="1422923"/>
            <a:chExt cx="2664633" cy="90252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C3E085-C705-FCEA-09F2-6DFB503D0DF9}"/>
                </a:ext>
              </a:extLst>
            </p:cNvPr>
            <p:cNvSpPr txBox="1"/>
            <p:nvPr/>
          </p:nvSpPr>
          <p:spPr>
            <a:xfrm>
              <a:off x="2663021" y="1586787"/>
              <a:ext cx="2520577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/>
                  <a:cs typeface="Arial"/>
                </a:rPr>
                <a:t>Kliknij </a:t>
              </a:r>
              <a:r>
                <a:rPr lang="pl-PL" sz="1300" b="1" dirty="0">
                  <a:latin typeface="Fira Sans"/>
                  <a:cs typeface="Arial"/>
                </a:rPr>
                <a:t>dojazd</a:t>
              </a:r>
              <a:r>
                <a:rPr lang="pl-PL" sz="1300" dirty="0">
                  <a:latin typeface="Fira Sans"/>
                  <a:cs typeface="Arial"/>
                </a:rPr>
                <a:t> w Apple Maps </a:t>
              </a:r>
              <a:br>
                <a:rPr lang="en-US" sz="1300" dirty="0">
                  <a:latin typeface="Fira Sans"/>
                  <a:cs typeface="Arial"/>
                </a:rPr>
              </a:br>
              <a:r>
                <a:rPr lang="pl-PL" sz="1300" dirty="0">
                  <a:latin typeface="Fira Sans"/>
                  <a:cs typeface="Arial"/>
                </a:rPr>
                <a:t>lub Google Maps, aby dojechać do lokalizacji klienta</a:t>
              </a:r>
            </a:p>
          </p:txBody>
        </p:sp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F3D7EB85-B490-947D-4F4F-4AD4D9855D77}"/>
                </a:ext>
              </a:extLst>
            </p:cNvPr>
            <p:cNvSpPr/>
            <p:nvPr/>
          </p:nvSpPr>
          <p:spPr bwMode="auto">
            <a:xfrm>
              <a:off x="4961894" y="142292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F9DCF87-2A01-7115-F3D0-AB7161982B7F}"/>
              </a:ext>
            </a:extLst>
          </p:cNvPr>
          <p:cNvGrpSpPr/>
          <p:nvPr/>
        </p:nvGrpSpPr>
        <p:grpSpPr>
          <a:xfrm>
            <a:off x="2504534" y="993473"/>
            <a:ext cx="2923158" cy="895494"/>
            <a:chOff x="2696346" y="1429957"/>
            <a:chExt cx="2923158" cy="8954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04B08-E9ED-6061-220B-1273BC9A4F71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r>
                <a:rPr lang="pl-PL" sz="1300" b="1" dirty="0">
                  <a:latin typeface="Fira Sans" panose="020B0503050000020004" pitchFamily="34" charset="0"/>
                </a:rPr>
                <a:t>Zobacz klientów</a:t>
              </a:r>
              <a:r>
                <a:rPr lang="pl-PL" sz="1300" dirty="0">
                  <a:latin typeface="Fira Sans" panose="020B0503050000020004" pitchFamily="34" charset="0"/>
                </a:rPr>
                <a:t>, aby wyświetlić aktualną listę klientów</a:t>
              </a:r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F5A3C4B4-06DB-3D9A-91DA-D7A324BFC2B4}"/>
                </a:ext>
              </a:extLst>
            </p:cNvPr>
            <p:cNvSpPr/>
            <p:nvPr/>
          </p:nvSpPr>
          <p:spPr bwMode="auto">
            <a:xfrm>
              <a:off x="2696346" y="14299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B9DC11AA-4BFA-D7BF-96A3-76E7BEE8F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355" y="1012977"/>
            <a:ext cx="2136426" cy="4552465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98223A23-BED2-F918-2807-31CC6D4457D9}"/>
              </a:ext>
            </a:extLst>
          </p:cNvPr>
          <p:cNvGrpSpPr/>
          <p:nvPr/>
        </p:nvGrpSpPr>
        <p:grpSpPr>
          <a:xfrm>
            <a:off x="2023139" y="2874400"/>
            <a:ext cx="2190120" cy="4374223"/>
            <a:chOff x="7145419" y="1869582"/>
            <a:chExt cx="2190120" cy="437422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544415D-695E-1B9F-E5C0-D56B2368C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45419" y="1869582"/>
              <a:ext cx="2190120" cy="4374223"/>
            </a:xfrm>
            <a:prstGeom prst="roundRect">
              <a:avLst/>
            </a:prstGeom>
          </p:spPr>
        </p:pic>
        <p:pic>
          <p:nvPicPr>
            <p:cNvPr id="33" name="Picture 32" descr="A screenshot of a phone&#10;&#10;Description automatically generated">
              <a:extLst>
                <a:ext uri="{FF2B5EF4-FFF2-40B4-BE49-F238E27FC236}">
                  <a16:creationId xmlns:a16="http://schemas.microsoft.com/office/drawing/2014/main" id="{D6349426-E194-01B4-88B5-3467AA50F927}"/>
                </a:ext>
              </a:extLst>
            </p:cNvPr>
            <p:cNvPicPr>
              <a:picLocks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72843" y="1940767"/>
              <a:ext cx="1945801" cy="4170784"/>
            </a:xfrm>
            <a:prstGeom prst="roundRect">
              <a:avLst/>
            </a:prstGeom>
            <a:ln>
              <a:solidFill>
                <a:srgbClr val="000000"/>
              </a:solidFill>
            </a:ln>
          </p:spPr>
        </p:pic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D220C12-EA36-50FE-0718-1388AF6745BC}"/>
                </a:ext>
              </a:extLst>
            </p:cNvPr>
            <p:cNvSpPr/>
            <p:nvPr/>
          </p:nvSpPr>
          <p:spPr bwMode="auto">
            <a:xfrm flipH="1">
              <a:off x="7314089" y="2982458"/>
              <a:ext cx="939451" cy="273327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pl-PL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41A8539-C248-51A7-0896-029C6E3751B1}"/>
              </a:ext>
            </a:extLst>
          </p:cNvPr>
          <p:cNvGrpSpPr/>
          <p:nvPr/>
        </p:nvGrpSpPr>
        <p:grpSpPr>
          <a:xfrm>
            <a:off x="3734445" y="4776479"/>
            <a:ext cx="2190120" cy="4374223"/>
            <a:chOff x="7875461" y="1339848"/>
            <a:chExt cx="2190120" cy="4374223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C0961CD-0011-AC11-FFE7-A98C5B732BFF}"/>
                </a:ext>
              </a:extLst>
            </p:cNvPr>
            <p:cNvGrpSpPr/>
            <p:nvPr/>
          </p:nvGrpSpPr>
          <p:grpSpPr>
            <a:xfrm>
              <a:off x="7875461" y="1339848"/>
              <a:ext cx="2190120" cy="4374223"/>
              <a:chOff x="7875461" y="1339848"/>
              <a:chExt cx="2190120" cy="4374223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FB96576B-F51E-C4E3-8D33-7C923A484A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875461" y="1339848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8" name="Picture 27" descr="A screenshot of a map&#10;&#10;Description automatically generated">
                <a:extLst>
                  <a:ext uri="{FF2B5EF4-FFF2-40B4-BE49-F238E27FC236}">
                    <a16:creationId xmlns:a16="http://schemas.microsoft.com/office/drawing/2014/main" id="{8EB2CF59-4D62-C3FA-0A3D-7642B1663E6A}"/>
                  </a:ext>
                </a:extLst>
              </p:cNvPr>
              <p:cNvPicPr>
                <a:picLocks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987004" y="1446246"/>
                <a:ext cx="1972573" cy="4124131"/>
              </a:xfrm>
              <a:prstGeom prst="roundRect">
                <a:avLst/>
              </a:prstGeom>
              <a:ln>
                <a:solidFill>
                  <a:schemeClr val="tx1"/>
                </a:solidFill>
              </a:ln>
            </p:spPr>
          </p:pic>
        </p:grp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1A6B8C0-B14A-5357-C8B4-0ABCB86269F0}"/>
                </a:ext>
              </a:extLst>
            </p:cNvPr>
            <p:cNvSpPr/>
            <p:nvPr/>
          </p:nvSpPr>
          <p:spPr bwMode="auto">
            <a:xfrm>
              <a:off x="7953802" y="3915652"/>
              <a:ext cx="872958" cy="3067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pl-PL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F90D5941-35A5-7AE8-484D-5867722A359A}"/>
              </a:ext>
            </a:extLst>
          </p:cNvPr>
          <p:cNvSpPr/>
          <p:nvPr/>
        </p:nvSpPr>
        <p:spPr bwMode="auto">
          <a:xfrm>
            <a:off x="197951" y="3194020"/>
            <a:ext cx="1043585" cy="19037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392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25385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75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yświetlanie harmonogramu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8DF819-B224-AE4C-EA7C-0D0D9964DE26}"/>
              </a:ext>
            </a:extLst>
          </p:cNvPr>
          <p:cNvGrpSpPr/>
          <p:nvPr/>
        </p:nvGrpSpPr>
        <p:grpSpPr>
          <a:xfrm>
            <a:off x="4425348" y="2940763"/>
            <a:ext cx="2422257" cy="1386090"/>
            <a:chOff x="4529709" y="3171667"/>
            <a:chExt cx="2422257" cy="98247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02EDD1-1428-7AEA-54B0-CBC3B4AC3244}"/>
                </a:ext>
              </a:extLst>
            </p:cNvPr>
            <p:cNvSpPr txBox="1"/>
            <p:nvPr/>
          </p:nvSpPr>
          <p:spPr>
            <a:xfrm>
              <a:off x="4727230" y="3415481"/>
              <a:ext cx="2224736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100" dirty="0">
                  <a:latin typeface="Fira Sans" panose="020B0503050000020004" pitchFamily="34" charset="0"/>
                </a:rPr>
                <a:t>Wyświetli się harmonogram na bieżący tydzień – dotknij każdej wizyty, aby wyświetlić szczegółowy harmonogram Twojej zmiany</a:t>
              </a:r>
            </a:p>
          </p:txBody>
        </p:sp>
        <p:sp>
          <p:nvSpPr>
            <p:cNvPr id="11" name="Flowchart: Connector 10">
              <a:extLst>
                <a:ext uri="{FF2B5EF4-FFF2-40B4-BE49-F238E27FC236}">
                  <a16:creationId xmlns:a16="http://schemas.microsoft.com/office/drawing/2014/main" id="{2E9D7565-4296-8DD5-4058-DE28E561ABCD}"/>
                </a:ext>
              </a:extLst>
            </p:cNvPr>
            <p:cNvSpPr/>
            <p:nvPr/>
          </p:nvSpPr>
          <p:spPr bwMode="auto">
            <a:xfrm>
              <a:off x="4529709" y="317166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BDFCE0E-EA5B-948C-DD7A-BB6CCCB76198}"/>
              </a:ext>
            </a:extLst>
          </p:cNvPr>
          <p:cNvGrpSpPr/>
          <p:nvPr/>
        </p:nvGrpSpPr>
        <p:grpSpPr>
          <a:xfrm>
            <a:off x="1059180" y="7516659"/>
            <a:ext cx="2774760" cy="952314"/>
            <a:chOff x="2566689" y="1373137"/>
            <a:chExt cx="2774760" cy="95231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1C3E085-C705-FCEA-09F2-6DFB503D0DF9}"/>
                </a:ext>
              </a:extLst>
            </p:cNvPr>
            <p:cNvSpPr txBox="1"/>
            <p:nvPr/>
          </p:nvSpPr>
          <p:spPr>
            <a:xfrm>
              <a:off x="2566689" y="1586787"/>
              <a:ext cx="2616909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/>
                  <a:cs typeface="Arial"/>
                </a:rPr>
                <a:t>Kliknij </a:t>
              </a:r>
              <a:r>
                <a:rPr lang="pl-PL" sz="1300" b="1" dirty="0">
                  <a:latin typeface="Fira Sans"/>
                  <a:cs typeface="Arial"/>
                </a:rPr>
                <a:t>strzałki</a:t>
              </a:r>
              <a:r>
                <a:rPr lang="pl-PL" sz="1300" dirty="0">
                  <a:latin typeface="Fira Sans"/>
                  <a:cs typeface="Arial"/>
                </a:rPr>
                <a:t> w prawym górnym rogu, aby przejść do poprzednich lub przyszłych wizyt</a:t>
              </a:r>
            </a:p>
          </p:txBody>
        </p:sp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F3D7EB85-B490-947D-4F4F-4AD4D9855D77}"/>
                </a:ext>
              </a:extLst>
            </p:cNvPr>
            <p:cNvSpPr/>
            <p:nvPr/>
          </p:nvSpPr>
          <p:spPr bwMode="auto">
            <a:xfrm>
              <a:off x="4975689" y="13731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F9DCF87-2A01-7115-F3D0-AB7161982B7F}"/>
              </a:ext>
            </a:extLst>
          </p:cNvPr>
          <p:cNvGrpSpPr/>
          <p:nvPr/>
        </p:nvGrpSpPr>
        <p:grpSpPr>
          <a:xfrm>
            <a:off x="2504534" y="993473"/>
            <a:ext cx="2923158" cy="895494"/>
            <a:chOff x="2696346" y="1429957"/>
            <a:chExt cx="2923158" cy="8954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DB04B08-E9ED-6061-220B-1273BC9A4F71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r>
                <a:rPr lang="pl-PL" sz="1300" b="1" dirty="0">
                  <a:latin typeface="Fira Sans" panose="020B0503050000020004" pitchFamily="34" charset="0"/>
                </a:rPr>
                <a:t>Zobacz harmonogram</a:t>
              </a:r>
              <a:endParaRPr lang="pl-PL" sz="1300" dirty="0">
                <a:latin typeface="Fira Sans" panose="020B0503050000020004" pitchFamily="34" charset="0"/>
              </a:endParaRPr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F5A3C4B4-06DB-3D9A-91DA-D7A324BFC2B4}"/>
                </a:ext>
              </a:extLst>
            </p:cNvPr>
            <p:cNvSpPr/>
            <p:nvPr/>
          </p:nvSpPr>
          <p:spPr bwMode="auto">
            <a:xfrm>
              <a:off x="2696346" y="142995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23" name="Oval 22">
            <a:extLst>
              <a:ext uri="{FF2B5EF4-FFF2-40B4-BE49-F238E27FC236}">
                <a16:creationId xmlns:a16="http://schemas.microsoft.com/office/drawing/2014/main" id="{06A091A2-2E9F-4D8E-DE98-C782690D2F3D}"/>
              </a:ext>
            </a:extLst>
          </p:cNvPr>
          <p:cNvSpPr/>
          <p:nvPr/>
        </p:nvSpPr>
        <p:spPr bwMode="auto">
          <a:xfrm>
            <a:off x="4196421" y="5221122"/>
            <a:ext cx="2130509" cy="41517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7C00E32-C1DA-474C-E065-E4C0DB0DD3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938" y="1083836"/>
            <a:ext cx="2136426" cy="4552465"/>
          </a:xfrm>
          <a:prstGeom prst="rect">
            <a:avLst/>
          </a:prstGeom>
        </p:spPr>
      </p:pic>
      <p:grpSp>
        <p:nvGrpSpPr>
          <p:cNvPr id="17" name="Group 10">
            <a:extLst>
              <a:ext uri="{FF2B5EF4-FFF2-40B4-BE49-F238E27FC236}">
                <a16:creationId xmlns:a16="http://schemas.microsoft.com/office/drawing/2014/main" id="{97E1A99F-F0CC-6F0E-F380-0C7BE70DB482}"/>
              </a:ext>
            </a:extLst>
          </p:cNvPr>
          <p:cNvGrpSpPr/>
          <p:nvPr/>
        </p:nvGrpSpPr>
        <p:grpSpPr>
          <a:xfrm>
            <a:off x="2208927" y="2655409"/>
            <a:ext cx="2260788" cy="4552465"/>
            <a:chOff x="0" y="0"/>
            <a:chExt cx="3929993" cy="7694996"/>
          </a:xfrm>
        </p:grpSpPr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AA1D2B2C-B101-87E8-D25E-A4A1E51ACFB3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pl-PL"/>
            </a:p>
          </p:txBody>
        </p:sp>
      </p:grpSp>
      <p:grpSp>
        <p:nvGrpSpPr>
          <p:cNvPr id="21" name="Group 10">
            <a:extLst>
              <a:ext uri="{FF2B5EF4-FFF2-40B4-BE49-F238E27FC236}">
                <a16:creationId xmlns:a16="http://schemas.microsoft.com/office/drawing/2014/main" id="{BC19D917-EFBA-5DD6-34FB-FFFCBE3412E7}"/>
              </a:ext>
            </a:extLst>
          </p:cNvPr>
          <p:cNvGrpSpPr/>
          <p:nvPr/>
        </p:nvGrpSpPr>
        <p:grpSpPr>
          <a:xfrm>
            <a:off x="4146995" y="4687794"/>
            <a:ext cx="2344725" cy="4552465"/>
            <a:chOff x="0" y="0"/>
            <a:chExt cx="3929993" cy="7694996"/>
          </a:xfrm>
        </p:grpSpPr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AF0C0213-2AB2-1808-3A38-FC6E8D7C4CA5}"/>
                </a:ext>
              </a:extLst>
            </p:cNvPr>
            <p:cNvSpPr/>
            <p:nvPr/>
          </p:nvSpPr>
          <p:spPr>
            <a:xfrm>
              <a:off x="0" y="0"/>
              <a:ext cx="3929993" cy="7694996"/>
            </a:xfrm>
            <a:custGeom>
              <a:avLst/>
              <a:gdLst/>
              <a:ahLst/>
              <a:cxnLst/>
              <a:rect l="l" t="t" r="r" b="b"/>
              <a:pathLst>
                <a:path w="3929993" h="7694996">
                  <a:moveTo>
                    <a:pt x="0" y="0"/>
                  </a:moveTo>
                  <a:lnTo>
                    <a:pt x="3929993" y="0"/>
                  </a:lnTo>
                  <a:lnTo>
                    <a:pt x="3929993" y="7694996"/>
                  </a:lnTo>
                  <a:lnTo>
                    <a:pt x="0" y="769499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pl-PL"/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368364FA-38ED-3BB3-4E54-3E3231BD9AFA}"/>
              </a:ext>
            </a:extLst>
          </p:cNvPr>
          <p:cNvSpPr/>
          <p:nvPr/>
        </p:nvSpPr>
        <p:spPr bwMode="auto">
          <a:xfrm>
            <a:off x="206292" y="4047344"/>
            <a:ext cx="949220" cy="28481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2FAAA17-2695-0828-0612-A1E54FC51947}"/>
              </a:ext>
            </a:extLst>
          </p:cNvPr>
          <p:cNvSpPr/>
          <p:nvPr/>
        </p:nvSpPr>
        <p:spPr bwMode="auto">
          <a:xfrm>
            <a:off x="5504695" y="5286304"/>
            <a:ext cx="949220" cy="28481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031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8597" y="3851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15177" y="186323"/>
            <a:ext cx="1073746" cy="557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CBCF91-43CB-9564-013A-0C466785DA7F}"/>
              </a:ext>
            </a:extLst>
          </p:cNvPr>
          <p:cNvSpPr txBox="1"/>
          <p:nvPr/>
        </p:nvSpPr>
        <p:spPr>
          <a:xfrm>
            <a:off x="2057400" y="4253952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42F280-0DB2-DAA1-F5FF-865DD98FAB2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CFF4D36-A2E6-E170-28A0-4F4B21CDB85C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280988" lvl="1" algn="l">
              <a:defRPr/>
            </a:pPr>
            <a:r>
              <a:rPr lang="pl-PL" sz="18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ntakt z działem wsparcia</a:t>
            </a:r>
            <a:endParaRPr kumimoji="0" lang="pl-PL" sz="18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77AA23-6DB1-74BE-DBCB-48B5C2DC761B}"/>
              </a:ext>
            </a:extLst>
          </p:cNvPr>
          <p:cNvSpPr txBox="1"/>
          <p:nvPr/>
        </p:nvSpPr>
        <p:spPr>
          <a:xfrm>
            <a:off x="381772" y="4140406"/>
            <a:ext cx="2718344" cy="99786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pl-PL" sz="1300" dirty="0">
                <a:latin typeface="Fira Sans" panose="020B0503050000020004" pitchFamily="34" charset="0"/>
              </a:rPr>
              <a:t>W razie jakichkolwiek pytań lub wątpliwości kliknij </a:t>
            </a:r>
            <a:r>
              <a:rPr lang="pl-PL" sz="1300" b="1" dirty="0">
                <a:latin typeface="Fira Sans" panose="020B0503050000020004" pitchFamily="34" charset="0"/>
              </a:rPr>
              <a:t>Czat </a:t>
            </a:r>
            <a:r>
              <a:rPr lang="pl-PL" sz="1300" dirty="0">
                <a:latin typeface="Fira Sans" panose="020B0503050000020004" pitchFamily="34" charset="0"/>
              </a:rPr>
              <a:t>lub</a:t>
            </a:r>
            <a:r>
              <a:rPr lang="pl-PL" sz="1300" b="1" dirty="0">
                <a:latin typeface="Fira Sans" panose="020B0503050000020004" pitchFamily="34" charset="0"/>
              </a:rPr>
              <a:t> Ikony połączeń</a:t>
            </a:r>
            <a:r>
              <a:rPr lang="pl-PL" sz="1300" dirty="0">
                <a:latin typeface="Fira Sans" panose="020B0503050000020004" pitchFamily="34" charset="0"/>
              </a:rPr>
              <a:t>, aby </a:t>
            </a:r>
            <a:r>
              <a:rPr lang="pl-PL" sz="1300" b="1" dirty="0">
                <a:latin typeface="Fira Sans" panose="020B0503050000020004" pitchFamily="34" charset="0"/>
              </a:rPr>
              <a:t> </a:t>
            </a:r>
            <a:r>
              <a:rPr lang="pl-PL" sz="1300" dirty="0">
                <a:latin typeface="Fira Sans" panose="020B0503050000020004" pitchFamily="34" charset="0"/>
              </a:rPr>
              <a:t>wysłać wiadomość tekstową lub zadzwonić do działu wsparcia Help at Home.</a:t>
            </a:r>
            <a:endParaRPr lang="pl-PL" sz="1300" b="1" dirty="0">
              <a:latin typeface="Fira Sans" panose="020B05030500000200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CEE454F-7609-1498-03ED-49A9CAAFBC3B}"/>
              </a:ext>
            </a:extLst>
          </p:cNvPr>
          <p:cNvSpPr txBox="1"/>
          <p:nvPr/>
        </p:nvSpPr>
        <p:spPr>
          <a:xfrm>
            <a:off x="3694040" y="4140406"/>
            <a:ext cx="2718344" cy="99786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pl-PL" sz="1300" dirty="0">
                <a:latin typeface="Fira Sans" panose="020B0503050000020004" pitchFamily="34" charset="0"/>
              </a:rPr>
              <a:t>Kliknij </a:t>
            </a:r>
            <a:r>
              <a:rPr lang="pl-PL" sz="1300" b="1" dirty="0">
                <a:latin typeface="Fira Sans" panose="020B0503050000020004" pitchFamily="34" charset="0"/>
              </a:rPr>
              <a:t>Centrum pomocy</a:t>
            </a:r>
            <a:r>
              <a:rPr lang="pl-PL" sz="1300" dirty="0">
                <a:latin typeface="Fira Sans" panose="020B0503050000020004" pitchFamily="34" charset="0"/>
              </a:rPr>
              <a:t>, aby wyświetlić często zadawane pytania</a:t>
            </a:r>
            <a:endParaRPr lang="pl-PL" sz="1300" b="1" dirty="0">
              <a:latin typeface="Fira Sans" panose="020B05030500000200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BB866CE-F305-6673-8B3D-4FB5489654C1}"/>
              </a:ext>
            </a:extLst>
          </p:cNvPr>
          <p:cNvSpPr txBox="1"/>
          <p:nvPr/>
        </p:nvSpPr>
        <p:spPr>
          <a:xfrm>
            <a:off x="3666197" y="7899503"/>
            <a:ext cx="2718344" cy="1305456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pl-PL" sz="1300" dirty="0">
                <a:latin typeface="Fira Sans"/>
                <a:cs typeface="Arial"/>
              </a:rPr>
              <a:t>Jeśli nie znajdziesz odpowiedzi na swoje pytanie, kliknij </a:t>
            </a:r>
            <a:br>
              <a:rPr lang="en-US" sz="1300" dirty="0">
                <a:latin typeface="Fira Sans"/>
                <a:cs typeface="Arial"/>
              </a:rPr>
            </a:br>
            <a:r>
              <a:rPr lang="pl-PL" sz="1300" b="1" dirty="0">
                <a:latin typeface="Fira Sans"/>
                <a:cs typeface="Arial"/>
              </a:rPr>
              <a:t>Więcej</a:t>
            </a:r>
            <a:r>
              <a:rPr lang="pl-PL" sz="1300" dirty="0">
                <a:latin typeface="Fira Sans"/>
                <a:cs typeface="Arial"/>
              </a:rPr>
              <a:t> </a:t>
            </a:r>
            <a:r>
              <a:rPr lang="pl-PL" sz="1300" b="1" dirty="0">
                <a:latin typeface="Fira Sans"/>
                <a:cs typeface="Arial"/>
              </a:rPr>
              <a:t>pomocy</a:t>
            </a:r>
            <a:r>
              <a:rPr lang="pl-PL" sz="1300" dirty="0">
                <a:latin typeface="Fira Sans"/>
                <a:cs typeface="Arial"/>
              </a:rPr>
              <a:t> , aby przejść do Help at Home Knowledge Center, w którym znajdują się zasoby dostępne na żądanie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1D42EC-8150-F1F8-B8A0-4CCE6054370E}"/>
              </a:ext>
            </a:extLst>
          </p:cNvPr>
          <p:cNvSpPr txBox="1"/>
          <p:nvPr/>
        </p:nvSpPr>
        <p:spPr>
          <a:xfrm>
            <a:off x="417812" y="7899502"/>
            <a:ext cx="2686594" cy="1305457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2pPr lvl="1" algn="l">
              <a:defRPr sz="2000" b="1" i="1">
                <a:solidFill>
                  <a:schemeClr val="tx1"/>
                </a:solidFill>
                <a:latin typeface="Fira Sans" panose="020B0503050000020004" pitchFamily="34" charset="0"/>
              </a:defRPr>
            </a:lvl2pPr>
          </a:lstStyle>
          <a:p>
            <a:r>
              <a:rPr lang="pl-PL" sz="1300" dirty="0">
                <a:latin typeface="Fira Sans"/>
                <a:cs typeface="Arial"/>
              </a:rPr>
              <a:t>Funkcja </a:t>
            </a:r>
            <a:r>
              <a:rPr lang="pl-PL" sz="1300" b="1" dirty="0">
                <a:latin typeface="Fira Sans"/>
                <a:cs typeface="Arial"/>
              </a:rPr>
              <a:t>Kliknij, aby zadzwonić</a:t>
            </a:r>
            <a:r>
              <a:rPr lang="pl-PL" sz="1300" dirty="0">
                <a:latin typeface="Fira Sans"/>
                <a:cs typeface="Arial"/>
              </a:rPr>
              <a:t> jest dostępna</a:t>
            </a:r>
            <a:r>
              <a:rPr lang="pl-PL" sz="1300" b="1" dirty="0">
                <a:latin typeface="Fira Sans"/>
                <a:cs typeface="Arial"/>
              </a:rPr>
              <a:t> 24 godz. na dobę, </a:t>
            </a:r>
            <a:br>
              <a:rPr lang="en-US" sz="1300" b="1" dirty="0">
                <a:latin typeface="Fira Sans"/>
                <a:cs typeface="Arial"/>
              </a:rPr>
            </a:br>
            <a:r>
              <a:rPr lang="pl-PL" sz="1300" b="1" dirty="0">
                <a:latin typeface="Fira Sans"/>
                <a:cs typeface="Arial"/>
              </a:rPr>
              <a:t>7 dni w tygodniu</a:t>
            </a:r>
            <a:r>
              <a:rPr lang="pl-PL" sz="1300" dirty="0">
                <a:latin typeface="Fira Sans"/>
                <a:cs typeface="Arial"/>
              </a:rPr>
              <a:t>, a funkcja </a:t>
            </a:r>
            <a:br>
              <a:rPr lang="en-US" sz="1300" dirty="0">
                <a:latin typeface="Fira Sans"/>
                <a:cs typeface="Arial"/>
              </a:rPr>
            </a:br>
            <a:r>
              <a:rPr lang="pl-PL" sz="1300" b="1" dirty="0">
                <a:latin typeface="Fira Sans"/>
                <a:cs typeface="Arial"/>
              </a:rPr>
              <a:t>Kliknij, aby porozmawiać na czacie</a:t>
            </a:r>
            <a:r>
              <a:rPr lang="pl-PL" sz="1300" dirty="0">
                <a:latin typeface="Fira Sans"/>
                <a:cs typeface="Arial"/>
              </a:rPr>
              <a:t>– </a:t>
            </a:r>
            <a:br>
              <a:rPr lang="en-US" sz="1300" dirty="0">
                <a:latin typeface="Fira Sans"/>
                <a:cs typeface="Arial"/>
              </a:rPr>
            </a:br>
            <a:r>
              <a:rPr lang="pl-PL" sz="1300" b="1" dirty="0">
                <a:latin typeface="Fira Sans"/>
                <a:cs typeface="Arial"/>
              </a:rPr>
              <a:t>od pon. do pt. </a:t>
            </a:r>
            <a:br>
              <a:rPr lang="en-US" sz="1300" b="1" dirty="0">
                <a:latin typeface="Fira Sans"/>
                <a:cs typeface="Arial"/>
              </a:rPr>
            </a:br>
            <a:r>
              <a:rPr lang="pl-PL" sz="1300" b="1" dirty="0">
                <a:latin typeface="Fira Sans"/>
                <a:cs typeface="Arial"/>
              </a:rPr>
              <a:t>w godz. 8–18 czasu wschodniego</a:t>
            </a:r>
            <a:r>
              <a:rPr lang="pl-PL" sz="1300" dirty="0">
                <a:latin typeface="Fira Sans"/>
                <a:cs typeface="Arial"/>
              </a:rPr>
              <a:t>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53525DC-70FD-A398-AE62-A9592112F1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88160" y="5175612"/>
            <a:ext cx="1324224" cy="2668575"/>
          </a:xfrm>
          <a:prstGeom prst="roundRect">
            <a:avLst/>
          </a:prstGeom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11323378-B845-96F5-6C59-4F5C2B52A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2379" y="5312822"/>
            <a:ext cx="1163836" cy="2541922"/>
          </a:xfrm>
          <a:prstGeom prst="round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EE580E7-9307-CDC1-6AC1-4CC1519D72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772" y="5192217"/>
            <a:ext cx="1324224" cy="2668575"/>
          </a:xfrm>
          <a:prstGeom prst="roundRect">
            <a:avLst/>
          </a:prstGeom>
        </p:spPr>
      </p:pic>
      <p:pic>
        <p:nvPicPr>
          <p:cNvPr id="23" name="Picture 6" descr="A screenshot of a chat&#10;&#10;Description automatically generated">
            <a:extLst>
              <a:ext uri="{FF2B5EF4-FFF2-40B4-BE49-F238E27FC236}">
                <a16:creationId xmlns:a16="http://schemas.microsoft.com/office/drawing/2014/main" id="{DF9D96F3-D1D6-23B9-EBD8-FC26BCF9F985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68" y="5238383"/>
            <a:ext cx="1188876" cy="2539544"/>
          </a:xfrm>
          <a:prstGeom prst="roundRect">
            <a:avLst/>
          </a:prstGeom>
          <a:noFill/>
          <a:ln w="19050"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0862D9F-8572-8E58-ADA4-D223FCE225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55408" y="1012925"/>
            <a:ext cx="1344211" cy="2943583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19518C8C-B858-BD22-80D6-9E1699035C64}"/>
              </a:ext>
            </a:extLst>
          </p:cNvPr>
          <p:cNvSpPr/>
          <p:nvPr/>
        </p:nvSpPr>
        <p:spPr bwMode="auto">
          <a:xfrm flipH="1">
            <a:off x="2755407" y="3223384"/>
            <a:ext cx="1344211" cy="64274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EFCFE13-25F9-86BE-6548-5BAC9BE9FB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31438" y="5184597"/>
            <a:ext cx="1337721" cy="2659590"/>
          </a:xfrm>
          <a:prstGeom prst="rect">
            <a:avLst/>
          </a:prstGeom>
        </p:spPr>
      </p:pic>
      <p:grpSp>
        <p:nvGrpSpPr>
          <p:cNvPr id="3" name="Group 4">
            <a:extLst>
              <a:ext uri="{FF2B5EF4-FFF2-40B4-BE49-F238E27FC236}">
                <a16:creationId xmlns:a16="http://schemas.microsoft.com/office/drawing/2014/main" id="{7A940F41-A1EF-FD6D-9937-7CA394AB689E}"/>
              </a:ext>
            </a:extLst>
          </p:cNvPr>
          <p:cNvGrpSpPr/>
          <p:nvPr/>
        </p:nvGrpSpPr>
        <p:grpSpPr>
          <a:xfrm>
            <a:off x="3688843" y="5193582"/>
            <a:ext cx="1299562" cy="2659590"/>
            <a:chOff x="0" y="0"/>
            <a:chExt cx="3201348" cy="6597703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E2F28185-A6B6-442F-296A-15BD652A91C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2"/>
              <a:stretch>
                <a:fillRect/>
              </a:stretch>
            </a:blipFill>
          </p:spPr>
          <p:txBody>
            <a:bodyPr/>
            <a:lstStyle/>
            <a:p>
              <a:endParaRPr lang="pl-PL" dirty="0"/>
            </a:p>
          </p:txBody>
        </p: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6543FA7B-1D7E-0624-0994-8E293EF8DF0B}"/>
              </a:ext>
            </a:extLst>
          </p:cNvPr>
          <p:cNvSpPr/>
          <p:nvPr/>
        </p:nvSpPr>
        <p:spPr bwMode="auto">
          <a:xfrm flipH="1">
            <a:off x="4440471" y="7472389"/>
            <a:ext cx="360129" cy="37065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9281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C7949DD-F478-71F3-1ED3-1D97CEC939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85" t="7142" r="19385" b="35199"/>
          <a:stretch/>
        </p:blipFill>
        <p:spPr>
          <a:xfrm>
            <a:off x="0" y="5295900"/>
            <a:ext cx="6858000" cy="4305300"/>
          </a:xfrm>
          <a:custGeom>
            <a:avLst/>
            <a:gdLst>
              <a:gd name="connsiteX0" fmla="*/ 0 w 6858000"/>
              <a:gd name="connsiteY0" fmla="*/ 0 h 4305300"/>
              <a:gd name="connsiteX1" fmla="*/ 6858000 w 6858000"/>
              <a:gd name="connsiteY1" fmla="*/ 0 h 4305300"/>
              <a:gd name="connsiteX2" fmla="*/ 6858000 w 6858000"/>
              <a:gd name="connsiteY2" fmla="*/ 4305300 h 4305300"/>
              <a:gd name="connsiteX3" fmla="*/ 0 w 6858000"/>
              <a:gd name="connsiteY3" fmla="*/ 4305300 h 430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305300">
                <a:moveTo>
                  <a:pt x="0" y="0"/>
                </a:moveTo>
                <a:lnTo>
                  <a:pt x="6858000" y="0"/>
                </a:lnTo>
                <a:lnTo>
                  <a:pt x="6858000" y="4305300"/>
                </a:lnTo>
                <a:lnTo>
                  <a:pt x="0" y="4305300"/>
                </a:lnTo>
                <a:close/>
              </a:path>
            </a:pathLst>
          </a:custGeom>
        </p:spPr>
      </p:pic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4F6336B-84B7-91F3-38B3-5B79A44B43D5}"/>
              </a:ext>
            </a:extLst>
          </p:cNvPr>
          <p:cNvSpPr/>
          <p:nvPr/>
        </p:nvSpPr>
        <p:spPr bwMode="auto">
          <a:xfrm>
            <a:off x="0" y="5295900"/>
            <a:ext cx="6858000" cy="4305300"/>
          </a:xfrm>
          <a:custGeom>
            <a:avLst/>
            <a:gdLst>
              <a:gd name="connsiteX0" fmla="*/ 0 w 6858000"/>
              <a:gd name="connsiteY0" fmla="*/ 0 h 4305300"/>
              <a:gd name="connsiteX1" fmla="*/ 6858000 w 6858000"/>
              <a:gd name="connsiteY1" fmla="*/ 0 h 4305300"/>
              <a:gd name="connsiteX2" fmla="*/ 6858000 w 6858000"/>
              <a:gd name="connsiteY2" fmla="*/ 4305300 h 4305300"/>
              <a:gd name="connsiteX3" fmla="*/ 0 w 6858000"/>
              <a:gd name="connsiteY3" fmla="*/ 4305300 h 430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4305300">
                <a:moveTo>
                  <a:pt x="0" y="0"/>
                </a:moveTo>
                <a:lnTo>
                  <a:pt x="6858000" y="0"/>
                </a:lnTo>
                <a:lnTo>
                  <a:pt x="6858000" y="4305300"/>
                </a:lnTo>
                <a:lnTo>
                  <a:pt x="0" y="4305300"/>
                </a:lnTo>
                <a:close/>
              </a:path>
            </a:pathLst>
          </a:cu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84697" y="297731"/>
            <a:ext cx="1073746" cy="557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0A308C4-5A9A-C15B-B5EB-C2F96FD7BAF9}"/>
              </a:ext>
            </a:extLst>
          </p:cNvPr>
          <p:cNvSpPr txBox="1"/>
          <p:nvPr/>
        </p:nvSpPr>
        <p:spPr>
          <a:xfrm>
            <a:off x="228600" y="6739187"/>
            <a:ext cx="6492239" cy="5693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pl-PL" sz="3100" dirty="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za korzystanie z </a:t>
            </a:r>
            <a:r>
              <a:rPr lang="pl-PL" sz="3100" i="1" dirty="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Caregiver Connect</a:t>
            </a:r>
            <a:r>
              <a:rPr lang="pl-PL" sz="3100" dirty="0">
                <a:solidFill>
                  <a:schemeClr val="bg1"/>
                </a:solidFill>
                <a:latin typeface="Fira Sans" panose="020B0503050000020004" pitchFamily="34" charset="0"/>
                <a:cs typeface="Calibri Light"/>
              </a:rPr>
              <a:t>!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6004D2-7C2D-7983-3EA6-553F0C433220}"/>
              </a:ext>
            </a:extLst>
          </p:cNvPr>
          <p:cNvSpPr txBox="1"/>
          <p:nvPr/>
        </p:nvSpPr>
        <p:spPr>
          <a:xfrm>
            <a:off x="1592580" y="6128448"/>
            <a:ext cx="34137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400" b="1" dirty="0">
                <a:solidFill>
                  <a:schemeClr val="bg1"/>
                </a:solidFill>
                <a:latin typeface="Fira Sans" panose="020B0503050000020004" pitchFamily="34" charset="0"/>
              </a:rPr>
              <a:t>Dziękujemy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F55A5B6-EFBE-EE36-9A95-501D20053C48}"/>
              </a:ext>
            </a:extLst>
          </p:cNvPr>
          <p:cNvSpPr/>
          <p:nvPr/>
        </p:nvSpPr>
        <p:spPr bwMode="auto">
          <a:xfrm>
            <a:off x="-180081" y="461396"/>
            <a:ext cx="3783895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pl-PL" sz="1800" b="1" i="1" dirty="0">
                <a:solidFill>
                  <a:schemeClr val="tx1"/>
                </a:solidFill>
                <a:latin typeface="Fira Sans" panose="020B0503050000020004" pitchFamily="34" charset="0"/>
              </a:rPr>
              <a:t>Kluczowe zasoby!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0D06840-69CF-E9F8-FB1A-A080CEC49A57}"/>
              </a:ext>
            </a:extLst>
          </p:cNvPr>
          <p:cNvSpPr txBox="1"/>
          <p:nvPr/>
        </p:nvSpPr>
        <p:spPr>
          <a:xfrm>
            <a:off x="468049" y="1633275"/>
            <a:ext cx="5921902" cy="233910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l-PL" sz="1600">
                <a:solidFill>
                  <a:schemeClr val="tx1"/>
                </a:solidFill>
                <a:latin typeface="Fira Sans"/>
                <a:cs typeface="Arial"/>
              </a:rPr>
              <a:t>Pobierz aplikację Help at Home Caregiver Connect:</a:t>
            </a:r>
          </a:p>
          <a:p>
            <a:pPr marL="742950" lvl="1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l-PL" sz="1600" u="sng">
                <a:solidFill>
                  <a:schemeClr val="tx1"/>
                </a:solidFill>
                <a:latin typeface="Fira Sans"/>
                <a:cs typeface="Arial"/>
                <a:hlinkClick r:id="rId6"/>
              </a:rPr>
              <a:t>Urządzenia Apple</a:t>
            </a:r>
            <a:endParaRPr lang="pl-PL" sz="1600" u="sng">
              <a:solidFill>
                <a:schemeClr val="tx1"/>
              </a:solidFill>
              <a:latin typeface="Fira Sans"/>
              <a:cs typeface="Arial"/>
            </a:endParaRPr>
          </a:p>
          <a:p>
            <a:pPr marL="742950" lvl="1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l-PL" sz="1600" u="sng">
                <a:solidFill>
                  <a:schemeClr val="tx1"/>
                </a:solidFill>
                <a:latin typeface="Fira Sans"/>
                <a:cs typeface="Arial"/>
                <a:hlinkClick r:id="rId7"/>
              </a:rPr>
              <a:t>Urządzenia z systemem Android</a:t>
            </a:r>
            <a:endParaRPr lang="pl-PL" sz="1600" u="sng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l-PL" sz="1600" u="sng">
                <a:solidFill>
                  <a:schemeClr val="tx1"/>
                </a:solidFill>
                <a:latin typeface="Fira Sans"/>
                <a:cs typeface="Arial"/>
                <a:hlinkClick r:id="rId8"/>
              </a:rPr>
              <a:t>Dodatkowe artykuły w Help at Home Knowledge Center</a:t>
            </a:r>
            <a:endParaRPr lang="pl-PL" sz="1600" u="sng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l-PL" sz="1600" u="sng">
                <a:solidFill>
                  <a:schemeClr val="tx1"/>
                </a:solidFill>
                <a:latin typeface="Fira Sans"/>
                <a:cs typeface="Arial"/>
                <a:hlinkClick r:id="rId9"/>
              </a:rPr>
              <a:t>Filmy demonstracyjne w Help at Home Caregiver Connect</a:t>
            </a:r>
            <a:endParaRPr lang="pl-PL" sz="1600" u="sng">
              <a:solidFill>
                <a:schemeClr val="tx1"/>
              </a:solidFill>
              <a:latin typeface="Fira Sans"/>
              <a:cs typeface="Arial"/>
            </a:endParaRP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pl-PL" sz="160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302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31BDDE-0ABD-1F62-4464-F28DD708A7EA}"/>
              </a:ext>
            </a:extLst>
          </p:cNvPr>
          <p:cNvGrpSpPr/>
          <p:nvPr/>
        </p:nvGrpSpPr>
        <p:grpSpPr>
          <a:xfrm>
            <a:off x="-206020" y="276025"/>
            <a:ext cx="4491475" cy="1866402"/>
            <a:chOff x="-219924" y="1242558"/>
            <a:chExt cx="4491475" cy="186640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0BA14E35-EA04-757C-758B-99AAD7A0B2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2" r="8427" b="39888"/>
            <a:stretch/>
          </p:blipFill>
          <p:spPr>
            <a:xfrm>
              <a:off x="-21249" y="1242558"/>
              <a:ext cx="4292800" cy="1866402"/>
            </a:xfrm>
            <a:custGeom>
              <a:avLst/>
              <a:gdLst>
                <a:gd name="connsiteX0" fmla="*/ 0 w 4292800"/>
                <a:gd name="connsiteY0" fmla="*/ 0 h 1866402"/>
                <a:gd name="connsiteX1" fmla="*/ 3981727 w 4292800"/>
                <a:gd name="connsiteY1" fmla="*/ 0 h 1866402"/>
                <a:gd name="connsiteX2" fmla="*/ 4292800 w 4292800"/>
                <a:gd name="connsiteY2" fmla="*/ 311073 h 1866402"/>
                <a:gd name="connsiteX3" fmla="*/ 4292800 w 4292800"/>
                <a:gd name="connsiteY3" fmla="*/ 1555329 h 1866402"/>
                <a:gd name="connsiteX4" fmla="*/ 3981727 w 4292800"/>
                <a:gd name="connsiteY4" fmla="*/ 1866402 h 1866402"/>
                <a:gd name="connsiteX5" fmla="*/ 0 w 4292800"/>
                <a:gd name="connsiteY5" fmla="*/ 1866402 h 1866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92800" h="1866402">
                  <a:moveTo>
                    <a:pt x="0" y="0"/>
                  </a:moveTo>
                  <a:lnTo>
                    <a:pt x="3981727" y="0"/>
                  </a:lnTo>
                  <a:cubicBezTo>
                    <a:pt x="4153528" y="0"/>
                    <a:pt x="4292800" y="139272"/>
                    <a:pt x="4292800" y="311073"/>
                  </a:cubicBezTo>
                  <a:lnTo>
                    <a:pt x="4292800" y="1555329"/>
                  </a:lnTo>
                  <a:cubicBezTo>
                    <a:pt x="4292800" y="1727130"/>
                    <a:pt x="4153528" y="1866402"/>
                    <a:pt x="3981727" y="1866402"/>
                  </a:cubicBezTo>
                  <a:lnTo>
                    <a:pt x="0" y="1866402"/>
                  </a:lnTo>
                  <a:close/>
                </a:path>
              </a:pathLst>
            </a:custGeom>
          </p:spPr>
        </p:pic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0996E04F-7D1A-CFF4-3AF8-F66C5DC2F7A2}"/>
                </a:ext>
              </a:extLst>
            </p:cNvPr>
            <p:cNvSpPr/>
            <p:nvPr/>
          </p:nvSpPr>
          <p:spPr bwMode="auto">
            <a:xfrm>
              <a:off x="-219924" y="1242558"/>
              <a:ext cx="4491475" cy="1866402"/>
            </a:xfrm>
            <a:prstGeom prst="roundRect">
              <a:avLst/>
            </a:prstGeom>
            <a:solidFill>
              <a:schemeClr val="accent3"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0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	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F5EF939B-8AA2-A99F-6918-C57F811ECE22}"/>
              </a:ext>
            </a:extLst>
          </p:cNvPr>
          <p:cNvSpPr/>
          <p:nvPr/>
        </p:nvSpPr>
        <p:spPr bwMode="auto">
          <a:xfrm>
            <a:off x="3341227" y="2704409"/>
            <a:ext cx="1580206" cy="822408"/>
          </a:xfrm>
          <a:prstGeom prst="rect">
            <a:avLst/>
          </a:prstGeom>
          <a:solidFill>
            <a:schemeClr val="accent3">
              <a:alpha val="70000"/>
            </a:schemeClr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r>
              <a:rPr lang="pl-PL" sz="12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rządzenia Apple:</a:t>
            </a:r>
          </a:p>
          <a:p>
            <a:r>
              <a:rPr lang="pl-PL" sz="1200" b="1" u="sng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Kliknij tutaj</a:t>
            </a:r>
            <a:endParaRPr lang="pl-PL" sz="1200" b="1" u="sng" dirty="0">
              <a:solidFill>
                <a:schemeClr val="bg1"/>
              </a:solidFill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l-PL" sz="12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b zeskanuj poniżej!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7DBC419-09F9-A553-9139-E7D48A6414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A42DBEE-1E00-8672-F8B7-232DBAB0FDE1}"/>
              </a:ext>
            </a:extLst>
          </p:cNvPr>
          <p:cNvSpPr txBox="1"/>
          <p:nvPr/>
        </p:nvSpPr>
        <p:spPr>
          <a:xfrm>
            <a:off x="314086" y="886061"/>
            <a:ext cx="39153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l-PL" sz="3600" b="1" i="1">
                <a:solidFill>
                  <a:schemeClr val="bg1"/>
                </a:solidFill>
                <a:latin typeface="Fira Sans" panose="020B0503050000020004" pitchFamily="34" charset="0"/>
              </a:rPr>
              <a:t>Zaczynamy!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23F1E8B-823E-040C-851A-2F0959E488A3}"/>
              </a:ext>
            </a:extLst>
          </p:cNvPr>
          <p:cNvSpPr/>
          <p:nvPr/>
        </p:nvSpPr>
        <p:spPr bwMode="auto">
          <a:xfrm>
            <a:off x="-100490" y="2300610"/>
            <a:ext cx="3216489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pl-PL" sz="2000" b="1" i="1">
                <a:solidFill>
                  <a:schemeClr val="tx1"/>
                </a:solidFill>
                <a:latin typeface="Fira Sans" panose="020B0503050000020004" pitchFamily="34" charset="0"/>
              </a:rPr>
              <a:t>Pobierz aplikację</a:t>
            </a:r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40017353-9244-9854-A798-C5A35831C45B}"/>
              </a:ext>
            </a:extLst>
          </p:cNvPr>
          <p:cNvSpPr/>
          <p:nvPr/>
        </p:nvSpPr>
        <p:spPr bwMode="auto">
          <a:xfrm>
            <a:off x="2808805" y="2173512"/>
            <a:ext cx="457200" cy="457200"/>
          </a:xfrm>
          <a:prstGeom prst="flowChartConnector">
            <a:avLst/>
          </a:prstGeom>
          <a:solidFill>
            <a:schemeClr val="bg1">
              <a:lumMod val="65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rPr>
              <a:t>1</a:t>
            </a:r>
            <a:endParaRPr kumimoji="0" lang="pl-PL" sz="1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Fira Sans" panose="020B0503050000020004" pitchFamily="34" charset="0"/>
              <a:cs typeface="Arial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2DFE8BF-9284-6A96-1CC2-8178D5D13AA5}"/>
              </a:ext>
            </a:extLst>
          </p:cNvPr>
          <p:cNvSpPr txBox="1"/>
          <p:nvPr/>
        </p:nvSpPr>
        <p:spPr>
          <a:xfrm>
            <a:off x="163788" y="6007840"/>
            <a:ext cx="31726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Wpisz swój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adres e-mail</a:t>
            </a: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, </a:t>
            </a:r>
            <a:br>
              <a:rPr lang="en-US" sz="1200" dirty="0">
                <a:solidFill>
                  <a:schemeClr val="tx1"/>
                </a:solidFill>
                <a:latin typeface="Fira Sans" panose="020B0503050000020004" pitchFamily="34" charset="0"/>
              </a:rPr>
            </a:b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datę urodzenia</a:t>
            </a:r>
            <a:r>
              <a:rPr lang="en-US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oraz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ostatnie </a:t>
            </a:r>
            <a:br>
              <a:rPr lang="en-US" sz="1200" b="1" dirty="0">
                <a:solidFill>
                  <a:schemeClr val="tx1"/>
                </a:solidFill>
                <a:latin typeface="Fira Sans" panose="020B0503050000020004" pitchFamily="34" charset="0"/>
              </a:rPr>
            </a:b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4 cyfry numeru SNN </a:t>
            </a: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i kliknij przycisk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Kontynuuj</a:t>
            </a:r>
          </a:p>
          <a:p>
            <a:pPr marL="228600" indent="-228600" algn="l">
              <a:buAutoNum type="arabicPeriod"/>
            </a:pP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Wprowadź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6-cyfrowy kod </a:t>
            </a: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wysłany na podany adres e-mail i kliknij</a:t>
            </a:r>
            <a:r>
              <a:rPr lang="en-US" sz="1200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Potwierdź</a:t>
            </a:r>
          </a:p>
          <a:p>
            <a:pPr marL="228600" indent="-228600" algn="l">
              <a:buAutoNum type="arabicPeriod"/>
            </a:pP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Utwórz hasło, wpisz je dwukrotnie </a:t>
            </a:r>
            <a:br>
              <a:rPr lang="en-US" sz="1200" dirty="0">
                <a:solidFill>
                  <a:schemeClr val="tx1"/>
                </a:solidFill>
                <a:latin typeface="Fira Sans" panose="020B0503050000020004" pitchFamily="34" charset="0"/>
              </a:rPr>
            </a:b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i kliknij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Utwórz hasło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535A00B-0361-A397-55BA-E6B6B3A82CC4}"/>
              </a:ext>
            </a:extLst>
          </p:cNvPr>
          <p:cNvSpPr txBox="1"/>
          <p:nvPr/>
        </p:nvSpPr>
        <p:spPr>
          <a:xfrm>
            <a:off x="163789" y="3169777"/>
            <a:ext cx="287361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28600" indent="-228600" algn="l">
              <a:buAutoNum type="arabicPeriod"/>
            </a:pPr>
            <a:r>
              <a:rPr lang="pl-PL" sz="1200" dirty="0">
                <a:solidFill>
                  <a:schemeClr val="tx1"/>
                </a:solidFill>
                <a:latin typeface="Fira Sans"/>
                <a:cs typeface="Arial"/>
              </a:rPr>
              <a:t>Kliknij poniższe łącze lub zeskanuj kody QR po prawej stronie, aby pobrać aplikację na urządzenie Apple lub z systemem Android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BB0A3CC-71EE-7633-5AA2-08E333197AAA}"/>
              </a:ext>
            </a:extLst>
          </p:cNvPr>
          <p:cNvSpPr/>
          <p:nvPr/>
        </p:nvSpPr>
        <p:spPr bwMode="auto">
          <a:xfrm>
            <a:off x="-100490" y="5112367"/>
            <a:ext cx="3216489" cy="78270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pl-PL" sz="2000" b="1" i="1">
                <a:solidFill>
                  <a:schemeClr val="tx1"/>
                </a:solidFill>
                <a:latin typeface="Fira Sans" panose="020B0503050000020004" pitchFamily="34" charset="0"/>
              </a:rPr>
              <a:t>Zarejestruj się</a:t>
            </a:r>
          </a:p>
        </p:txBody>
      </p:sp>
      <p:sp>
        <p:nvSpPr>
          <p:cNvPr id="3" name="Flowchart: Connector 2">
            <a:extLst>
              <a:ext uri="{FF2B5EF4-FFF2-40B4-BE49-F238E27FC236}">
                <a16:creationId xmlns:a16="http://schemas.microsoft.com/office/drawing/2014/main" id="{3179DE70-093C-B0E6-EFB6-694974F0EE44}"/>
              </a:ext>
            </a:extLst>
          </p:cNvPr>
          <p:cNvSpPr/>
          <p:nvPr/>
        </p:nvSpPr>
        <p:spPr bwMode="auto">
          <a:xfrm>
            <a:off x="2808805" y="4975654"/>
            <a:ext cx="457200" cy="457200"/>
          </a:xfrm>
          <a:prstGeom prst="flowChartConnector">
            <a:avLst/>
          </a:prstGeom>
          <a:solidFill>
            <a:schemeClr val="bg1">
              <a:lumMod val="65000"/>
            </a:scheme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rPr>
              <a:t>2</a:t>
            </a:r>
            <a:endParaRPr kumimoji="0" lang="pl-PL" sz="1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Fira Sans" panose="020B0503050000020004" pitchFamily="34" charset="0"/>
              <a:cs typeface="Arial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8DB889A-AF86-4F09-1795-D03DE2F26C6D}"/>
              </a:ext>
            </a:extLst>
          </p:cNvPr>
          <p:cNvGrpSpPr>
            <a:grpSpLocks noChangeAspect="1"/>
          </p:cNvGrpSpPr>
          <p:nvPr/>
        </p:nvGrpSpPr>
        <p:grpSpPr>
          <a:xfrm>
            <a:off x="3391140" y="5431615"/>
            <a:ext cx="1183361" cy="2430160"/>
            <a:chOff x="6903154" y="4314199"/>
            <a:chExt cx="2127195" cy="4368424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8A10F26-7E5F-33EF-6E70-426564FCB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03154" y="4314199"/>
              <a:ext cx="2127195" cy="4368424"/>
            </a:xfrm>
            <a:prstGeom prst="roundRect">
              <a:avLst/>
            </a:prstGeom>
          </p:spPr>
        </p:pic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FBDB8A3C-D186-7380-F526-091E89BD02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1907" y="4396114"/>
              <a:ext cx="1930114" cy="4176503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6085C6C-FC76-24C0-BD0D-0AFCF5EF77AC}"/>
              </a:ext>
            </a:extLst>
          </p:cNvPr>
          <p:cNvGrpSpPr/>
          <p:nvPr/>
        </p:nvGrpSpPr>
        <p:grpSpPr>
          <a:xfrm>
            <a:off x="4358947" y="6065822"/>
            <a:ext cx="1200607" cy="2430160"/>
            <a:chOff x="4231921" y="6065822"/>
            <a:chExt cx="1200607" cy="243016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A65FAEC-D822-FA47-8AAA-05A989504AC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49167" y="6065822"/>
              <a:ext cx="1183361" cy="2430160"/>
              <a:chOff x="7084064" y="2608912"/>
              <a:chExt cx="2127195" cy="4368424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54B48FAA-5D6A-A8D3-CF97-93CB61F174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084064" y="2608912"/>
                <a:ext cx="2127195" cy="4368424"/>
              </a:xfrm>
              <a:prstGeom prst="roundRect">
                <a:avLst/>
              </a:prstGeom>
            </p:spPr>
          </p:pic>
          <p:pic>
            <p:nvPicPr>
              <p:cNvPr id="7" name="Picture 2" descr="A screenshot of a phone&#10;&#10;Description automatically generated">
                <a:extLst>
                  <a:ext uri="{FF2B5EF4-FFF2-40B4-BE49-F238E27FC236}">
                    <a16:creationId xmlns:a16="http://schemas.microsoft.com/office/drawing/2014/main" id="{000D8B13-5BCD-B944-F5BB-83339E310B47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64462" y="2705877"/>
                <a:ext cx="1960877" cy="4161453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5F68835-1D19-EB6A-EA84-5EEC36E11DAC}"/>
                </a:ext>
              </a:extLst>
            </p:cNvPr>
            <p:cNvSpPr/>
            <p:nvPr/>
          </p:nvSpPr>
          <p:spPr bwMode="auto">
            <a:xfrm>
              <a:off x="4231921" y="7305872"/>
              <a:ext cx="1183361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856936E-5BF3-9B66-AEB9-8B951C1BAD79}"/>
              </a:ext>
            </a:extLst>
          </p:cNvPr>
          <p:cNvGrpSpPr/>
          <p:nvPr/>
        </p:nvGrpSpPr>
        <p:grpSpPr>
          <a:xfrm>
            <a:off x="5343999" y="6853902"/>
            <a:ext cx="1186833" cy="2430160"/>
            <a:chOff x="5343999" y="6853902"/>
            <a:chExt cx="1186833" cy="243016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D8C1AB5-37FF-810A-9AD9-933A573D14E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47471" y="6853902"/>
              <a:ext cx="1183361" cy="2430160"/>
              <a:chOff x="9291657" y="2616388"/>
              <a:chExt cx="2127195" cy="4368424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DDC0D5CE-1C3C-8B19-1517-D8BAEF8220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291657" y="2616388"/>
                <a:ext cx="2127195" cy="4368424"/>
              </a:xfrm>
              <a:prstGeom prst="roundRect">
                <a:avLst/>
              </a:prstGeom>
            </p:spPr>
          </p:pic>
          <p:pic>
            <p:nvPicPr>
              <p:cNvPr id="1030" name="Picture 6" descr="A screenshot of a phone&#10;&#10;Description automatically generated">
                <a:extLst>
                  <a:ext uri="{FF2B5EF4-FFF2-40B4-BE49-F238E27FC236}">
                    <a16:creationId xmlns:a16="http://schemas.microsoft.com/office/drawing/2014/main" id="{0F5812E4-3F84-B1D7-2F0F-BAEBA19A2B1D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79612" y="2705876"/>
                <a:ext cx="1957083" cy="4161454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6EBBA92-F67D-E709-D686-95C7D45280C3}"/>
                </a:ext>
              </a:extLst>
            </p:cNvPr>
            <p:cNvSpPr/>
            <p:nvPr/>
          </p:nvSpPr>
          <p:spPr bwMode="auto">
            <a:xfrm>
              <a:off x="5343999" y="8876247"/>
              <a:ext cx="1183361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CB2BDB1-40C6-7470-C08A-511A4EB9585D}"/>
                </a:ext>
              </a:extLst>
            </p:cNvPr>
            <p:cNvSpPr/>
            <p:nvPr/>
          </p:nvSpPr>
          <p:spPr bwMode="auto">
            <a:xfrm>
              <a:off x="6192641" y="8160625"/>
              <a:ext cx="262036" cy="184192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F73FCE7-B1AC-700E-A576-14B981BA52E0}"/>
              </a:ext>
            </a:extLst>
          </p:cNvPr>
          <p:cNvSpPr/>
          <p:nvPr/>
        </p:nvSpPr>
        <p:spPr bwMode="auto">
          <a:xfrm>
            <a:off x="4973971" y="2704409"/>
            <a:ext cx="1580206" cy="822408"/>
          </a:xfrm>
          <a:prstGeom prst="rect">
            <a:avLst/>
          </a:prstGeom>
          <a:solidFill>
            <a:schemeClr val="accent3">
              <a:alpha val="70000"/>
            </a:schemeClr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r>
              <a:rPr lang="pl-PL" sz="12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rządzenia z </a:t>
            </a:r>
            <a:br>
              <a:rPr lang="en-US" sz="12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12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ystemem Android:</a:t>
            </a:r>
          </a:p>
          <a:p>
            <a:r>
              <a:rPr lang="pl-PL" sz="1200" b="1" u="sng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  <a:hlinkClick r:id="rId11"/>
              </a:rPr>
              <a:t>Kliknij tutaj</a:t>
            </a:r>
            <a:r>
              <a:rPr lang="pl-PL" sz="12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pl-PL" sz="1200" b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b zeskanuj poniżej.</a:t>
            </a:r>
          </a:p>
        </p:txBody>
      </p:sp>
      <p:pic>
        <p:nvPicPr>
          <p:cNvPr id="25" name="Picture 24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E5170B37-D534-C222-E8B0-F35587EE3F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39650" y="3634375"/>
            <a:ext cx="1183361" cy="1183361"/>
          </a:xfrm>
          <a:prstGeom prst="rect">
            <a:avLst/>
          </a:prstGeom>
        </p:spPr>
      </p:pic>
      <p:pic>
        <p:nvPicPr>
          <p:cNvPr id="24" name="Picture 23" descr="A qr code with a white background&#10;&#10;Description automatically generated">
            <a:extLst>
              <a:ext uri="{FF2B5EF4-FFF2-40B4-BE49-F238E27FC236}">
                <a16:creationId xmlns:a16="http://schemas.microsoft.com/office/drawing/2014/main" id="{1E334FD0-BF41-9FC1-1B15-8CAE0687233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72394" y="3630101"/>
            <a:ext cx="1183361" cy="118336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E028A6D-5D06-F7B3-6861-872595CB3B90}"/>
              </a:ext>
            </a:extLst>
          </p:cNvPr>
          <p:cNvSpPr txBox="1"/>
          <p:nvPr/>
        </p:nvSpPr>
        <p:spPr>
          <a:xfrm>
            <a:off x="169037" y="7844842"/>
            <a:ext cx="30313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WSKAZÓWKA: Kliknij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Włącz rozpoznawanie twarzy/odcisku</a:t>
            </a: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, aby następnym razem szybciej się zalogować.</a:t>
            </a:r>
            <a:endParaRPr lang="pl-PL" sz="1200" b="1" dirty="0">
              <a:solidFill>
                <a:schemeClr val="tx1"/>
              </a:solidFill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429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0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A7DBC419-09F9-A553-9139-E7D48A6414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2C83402-1FCF-753A-DA89-B17258866E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FC0681B-770C-0242-A364-D26FA10F33FA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>
              <a:defRPr/>
            </a:pPr>
            <a:r>
              <a:rPr lang="pl-PL" sz="1800" b="1" i="1" dirty="0">
                <a:solidFill>
                  <a:schemeClr val="bg1"/>
                </a:solidFill>
                <a:latin typeface="Fira Sans" panose="020B05030500000200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łącz aktualizacje</a:t>
            </a:r>
            <a:endParaRPr kumimoji="0" lang="pl-PL" sz="18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8FBCBEB-6D3E-B0D2-86ED-1969292D2B79}"/>
              </a:ext>
            </a:extLst>
          </p:cNvPr>
          <p:cNvSpPr txBox="1"/>
          <p:nvPr/>
        </p:nvSpPr>
        <p:spPr>
          <a:xfrm>
            <a:off x="176091" y="898946"/>
            <a:ext cx="569336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/>
            <a:r>
              <a:rPr lang="pl-PL" sz="1200" b="1">
                <a:solidFill>
                  <a:schemeClr val="tx1"/>
                </a:solidFill>
                <a:latin typeface="Fira Sans"/>
                <a:cs typeface="Arial"/>
              </a:rPr>
              <a:t>Aby uzyskać dostęp do przyszłych ulepszeń aplikacji i nowych funkcji, włącz automatyczną aktualizację.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1C9F8E1-E1FD-E03F-1393-6F8904B44608}"/>
              </a:ext>
            </a:extLst>
          </p:cNvPr>
          <p:cNvSpPr/>
          <p:nvPr/>
        </p:nvSpPr>
        <p:spPr bwMode="auto">
          <a:xfrm>
            <a:off x="-101600" y="1729943"/>
            <a:ext cx="2733589" cy="46166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pl-PL" sz="2000" b="1" i="1">
                <a:solidFill>
                  <a:schemeClr val="tx1"/>
                </a:solidFill>
                <a:latin typeface="Fira Sans" panose="020B0503050000020004" pitchFamily="34" charset="0"/>
              </a:rPr>
              <a:t>Urządzenia Apple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1FB16DA-1244-5E16-5FE3-200015F7BFDD}"/>
              </a:ext>
            </a:extLst>
          </p:cNvPr>
          <p:cNvSpPr/>
          <p:nvPr/>
        </p:nvSpPr>
        <p:spPr bwMode="auto">
          <a:xfrm>
            <a:off x="-101601" y="5176929"/>
            <a:ext cx="2733589" cy="461665"/>
          </a:xfrm>
          <a:prstGeom prst="round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lvl="1" algn="l"/>
            <a:r>
              <a:rPr lang="pl-PL" sz="2000" b="1" i="1">
                <a:solidFill>
                  <a:schemeClr val="tx1"/>
                </a:solidFill>
                <a:latin typeface="Fira Sans" panose="020B0503050000020004" pitchFamily="34" charset="0"/>
              </a:rPr>
              <a:t>Urządzenia z systemem Androi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A48518B-CB0A-8B11-60EB-C89A8707AEDE}"/>
              </a:ext>
            </a:extLst>
          </p:cNvPr>
          <p:cNvSpPr txBox="1"/>
          <p:nvPr/>
        </p:nvSpPr>
        <p:spPr>
          <a:xfrm>
            <a:off x="178380" y="5690935"/>
            <a:ext cx="28736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Otwórz sklep Google Play</a:t>
            </a:r>
          </a:p>
          <a:p>
            <a:pPr marL="228600" indent="-228600" algn="l">
              <a:buAutoNum type="arabicPeriod"/>
            </a:pP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Kliknij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ikonę konta </a:t>
            </a: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w prawym górnym rogu</a:t>
            </a:r>
          </a:p>
          <a:p>
            <a:pPr marL="228600" indent="-228600" algn="l">
              <a:buAutoNum type="arabicPeriod"/>
            </a:pP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Kliknij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ustawienia</a:t>
            </a:r>
          </a:p>
          <a:p>
            <a:pPr marL="228600" indent="-228600" algn="l">
              <a:buAutoNum type="arabicPeriod"/>
            </a:pP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Kliknij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Preferencje sieci</a:t>
            </a:r>
          </a:p>
          <a:p>
            <a:pPr marL="228600" indent="-228600" algn="l">
              <a:buAutoNum type="arabicPeriod"/>
            </a:pPr>
            <a:r>
              <a:rPr lang="pl-PL" sz="1200" dirty="0">
                <a:solidFill>
                  <a:schemeClr val="tx1"/>
                </a:solidFill>
                <a:latin typeface="Fira Sans" panose="020B0503050000020004" pitchFamily="34" charset="0"/>
              </a:rPr>
              <a:t>Wybierz opcję </a:t>
            </a:r>
            <a:r>
              <a:rPr lang="pl-PL" sz="1200" b="1" dirty="0">
                <a:solidFill>
                  <a:schemeClr val="tx1"/>
                </a:solidFill>
                <a:latin typeface="Fira Sans" panose="020B0503050000020004" pitchFamily="34" charset="0"/>
              </a:rPr>
              <a:t>Aktualizuj wszystkie aplikacje za pomocą Wi-Fi lub komórkowej transmisji danych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6F97727-61BE-5CFA-6751-84AD307A0292}"/>
              </a:ext>
            </a:extLst>
          </p:cNvPr>
          <p:cNvGrpSpPr/>
          <p:nvPr/>
        </p:nvGrpSpPr>
        <p:grpSpPr>
          <a:xfrm>
            <a:off x="3006324" y="5182334"/>
            <a:ext cx="1183361" cy="2430160"/>
            <a:chOff x="3006324" y="5036284"/>
            <a:chExt cx="1183361" cy="243016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EF9D787-C90C-7B94-DE4D-6432A65AE875}"/>
                </a:ext>
              </a:extLst>
            </p:cNvPr>
            <p:cNvGrpSpPr/>
            <p:nvPr/>
          </p:nvGrpSpPr>
          <p:grpSpPr>
            <a:xfrm>
              <a:off x="3006324" y="5036284"/>
              <a:ext cx="1183361" cy="2430160"/>
              <a:chOff x="3006324" y="5036284"/>
              <a:chExt cx="1183361" cy="2430160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2B153FED-F80C-F786-1059-4787E89298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006324" y="50362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1" name="Picture 6">
                <a:extLst>
                  <a:ext uri="{FF2B5EF4-FFF2-40B4-BE49-F238E27FC236}">
                    <a16:creationId xmlns:a16="http://schemas.microsoft.com/office/drawing/2014/main" id="{2C255113-ABE6-2C2D-78BB-DEECDD54411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55752" y="5090973"/>
                <a:ext cx="1049868" cy="2275028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0E9A4737-11A4-4651-9938-61A52510B637}"/>
                </a:ext>
              </a:extLst>
            </p:cNvPr>
            <p:cNvSpPr/>
            <p:nvPr/>
          </p:nvSpPr>
          <p:spPr bwMode="auto">
            <a:xfrm>
              <a:off x="3874258" y="5142445"/>
              <a:ext cx="255240" cy="242445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E3BA821-86EF-FAF7-EFAA-52C100683525}"/>
              </a:ext>
            </a:extLst>
          </p:cNvPr>
          <p:cNvGrpSpPr/>
          <p:nvPr/>
        </p:nvGrpSpPr>
        <p:grpSpPr>
          <a:xfrm>
            <a:off x="3826429" y="5582700"/>
            <a:ext cx="1183361" cy="2430160"/>
            <a:chOff x="3826429" y="5485333"/>
            <a:chExt cx="1183361" cy="2430160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CC8995A-2CC5-3ACC-6080-98C1B227D8AC}"/>
                </a:ext>
              </a:extLst>
            </p:cNvPr>
            <p:cNvGrpSpPr/>
            <p:nvPr/>
          </p:nvGrpSpPr>
          <p:grpSpPr>
            <a:xfrm>
              <a:off x="3826429" y="5485333"/>
              <a:ext cx="1183361" cy="2430160"/>
              <a:chOff x="3158724" y="5188684"/>
              <a:chExt cx="1183361" cy="2430160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49BFF0CC-635D-C33C-0550-C94EF0CABA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158724" y="51886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552B0643-F5F4-A447-D878-F937B3878D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13233" y="5238822"/>
                <a:ext cx="1073083" cy="2325334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E235C17-5ED2-0196-EF6A-A6555253BBF8}"/>
                </a:ext>
              </a:extLst>
            </p:cNvPr>
            <p:cNvSpPr/>
            <p:nvPr/>
          </p:nvSpPr>
          <p:spPr bwMode="auto">
            <a:xfrm>
              <a:off x="3909504" y="7371732"/>
              <a:ext cx="595752" cy="248268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E3DDAB4-0E87-1474-C721-AB01163B26D4}"/>
              </a:ext>
            </a:extLst>
          </p:cNvPr>
          <p:cNvGrpSpPr/>
          <p:nvPr/>
        </p:nvGrpSpPr>
        <p:grpSpPr>
          <a:xfrm>
            <a:off x="4575839" y="5983066"/>
            <a:ext cx="1254056" cy="2430160"/>
            <a:chOff x="4575839" y="5934382"/>
            <a:chExt cx="1254056" cy="243016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DE8710C-AE36-D9C0-7F62-AD38792DB60A}"/>
                </a:ext>
              </a:extLst>
            </p:cNvPr>
            <p:cNvGrpSpPr/>
            <p:nvPr/>
          </p:nvGrpSpPr>
          <p:grpSpPr>
            <a:xfrm>
              <a:off x="4646534" y="5934382"/>
              <a:ext cx="1183361" cy="2430160"/>
              <a:chOff x="4076365" y="5860850"/>
              <a:chExt cx="1183361" cy="2430160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E7A59B22-4EA8-330E-284C-273215B85B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076365" y="5860850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28" name="Picture 4">
                <a:extLst>
                  <a:ext uri="{FF2B5EF4-FFF2-40B4-BE49-F238E27FC236}">
                    <a16:creationId xmlns:a16="http://schemas.microsoft.com/office/drawing/2014/main" id="{766949BD-870B-EB33-DFF5-6D49FB3D92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43087" y="5908489"/>
                <a:ext cx="1049868" cy="2275028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2CFBDE2-EE8B-CE25-5622-E05A73D060A0}"/>
                </a:ext>
              </a:extLst>
            </p:cNvPr>
            <p:cNvSpPr/>
            <p:nvPr/>
          </p:nvSpPr>
          <p:spPr bwMode="auto">
            <a:xfrm>
              <a:off x="4575839" y="6488645"/>
              <a:ext cx="964865" cy="236005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C506B81-B149-73A2-852E-68981B63F2C5}"/>
              </a:ext>
            </a:extLst>
          </p:cNvPr>
          <p:cNvGrpSpPr/>
          <p:nvPr/>
        </p:nvGrpSpPr>
        <p:grpSpPr>
          <a:xfrm>
            <a:off x="5466639" y="6383432"/>
            <a:ext cx="1183361" cy="2430160"/>
            <a:chOff x="5466639" y="6383432"/>
            <a:chExt cx="1183361" cy="2430160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7288DD5A-DADA-8E44-EC0D-F7B99B7DEC66}"/>
                </a:ext>
              </a:extLst>
            </p:cNvPr>
            <p:cNvGrpSpPr/>
            <p:nvPr/>
          </p:nvGrpSpPr>
          <p:grpSpPr>
            <a:xfrm>
              <a:off x="5466639" y="6383432"/>
              <a:ext cx="1183361" cy="2430160"/>
              <a:chOff x="3463524" y="5493484"/>
              <a:chExt cx="1183361" cy="2430160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E74C1BF5-7BBE-57C8-61F7-85E8E557AF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463524" y="5493484"/>
                <a:ext cx="1183361" cy="2430160"/>
              </a:xfrm>
              <a:prstGeom prst="roundRect">
                <a:avLst/>
              </a:prstGeom>
            </p:spPr>
          </p:pic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E958303F-75E5-9240-394A-CFF9D50301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22648" y="5543858"/>
                <a:ext cx="1073437" cy="2326101"/>
              </a:xfrm>
              <a:prstGeom prst="round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355D3E5-0960-5591-5719-AC5FFB07CF5B}"/>
                </a:ext>
              </a:extLst>
            </p:cNvPr>
            <p:cNvSpPr/>
            <p:nvPr/>
          </p:nvSpPr>
          <p:spPr bwMode="auto">
            <a:xfrm>
              <a:off x="6369049" y="6828927"/>
              <a:ext cx="226441" cy="240653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40" name="TextBox 1039">
            <a:extLst>
              <a:ext uri="{FF2B5EF4-FFF2-40B4-BE49-F238E27FC236}">
                <a16:creationId xmlns:a16="http://schemas.microsoft.com/office/drawing/2014/main" id="{90DBB860-A321-A713-0591-D3DFB37A94A4}"/>
              </a:ext>
            </a:extLst>
          </p:cNvPr>
          <p:cNvSpPr txBox="1"/>
          <p:nvPr/>
        </p:nvSpPr>
        <p:spPr>
          <a:xfrm>
            <a:off x="174277" y="2228081"/>
            <a:ext cx="28736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l">
              <a:buAutoNum type="arabicPeriod"/>
            </a:pPr>
            <a:r>
              <a:rPr lang="pl-PL" sz="1200">
                <a:solidFill>
                  <a:schemeClr val="tx1"/>
                </a:solidFill>
                <a:latin typeface="Fira Sans" panose="020B0503050000020004" pitchFamily="34" charset="0"/>
              </a:rPr>
              <a:t>Otwórz </a:t>
            </a:r>
            <a:r>
              <a:rPr lang="pl-PL" sz="1200" b="1">
                <a:solidFill>
                  <a:schemeClr val="tx1"/>
                </a:solidFill>
                <a:latin typeface="Fira Sans" panose="020B0503050000020004" pitchFamily="34" charset="0"/>
              </a:rPr>
              <a:t>Ustawienia</a:t>
            </a:r>
          </a:p>
          <a:p>
            <a:pPr marL="228600" indent="-228600" algn="l">
              <a:buAutoNum type="arabicPeriod"/>
            </a:pPr>
            <a:r>
              <a:rPr lang="pl-PL" sz="1200">
                <a:solidFill>
                  <a:schemeClr val="tx1"/>
                </a:solidFill>
                <a:latin typeface="Fira Sans" panose="020B0503050000020004" pitchFamily="34" charset="0"/>
              </a:rPr>
              <a:t>Kliknij </a:t>
            </a:r>
            <a:r>
              <a:rPr lang="pl-PL" sz="1200" b="1">
                <a:solidFill>
                  <a:schemeClr val="tx1"/>
                </a:solidFill>
                <a:latin typeface="Fira Sans" panose="020B0503050000020004" pitchFamily="34" charset="0"/>
              </a:rPr>
              <a:t>App Store</a:t>
            </a:r>
          </a:p>
          <a:p>
            <a:pPr marL="228600" indent="-228600" algn="l">
              <a:buAutoNum type="arabicPeriod"/>
            </a:pPr>
            <a:r>
              <a:rPr lang="pl-PL" sz="1200">
                <a:solidFill>
                  <a:schemeClr val="tx1"/>
                </a:solidFill>
                <a:latin typeface="Fira Sans" panose="020B0503050000020004" pitchFamily="34" charset="0"/>
              </a:rPr>
              <a:t>Włącz </a:t>
            </a:r>
            <a:r>
              <a:rPr lang="pl-PL" sz="1200" b="1">
                <a:solidFill>
                  <a:schemeClr val="tx1"/>
                </a:solidFill>
                <a:latin typeface="Fira Sans" panose="020B0503050000020004" pitchFamily="34" charset="0"/>
              </a:rPr>
              <a:t>Aktualizacje aplikacji</a:t>
            </a:r>
          </a:p>
        </p:txBody>
      </p: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98A2D897-9448-8C18-B6EA-1567F5E00355}"/>
              </a:ext>
            </a:extLst>
          </p:cNvPr>
          <p:cNvGrpSpPr/>
          <p:nvPr/>
        </p:nvGrpSpPr>
        <p:grpSpPr>
          <a:xfrm>
            <a:off x="3006324" y="1728376"/>
            <a:ext cx="1183361" cy="2430160"/>
            <a:chOff x="3006324" y="1728376"/>
            <a:chExt cx="1183361" cy="2430160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5ADCA0C5-184A-5459-B8C7-794D8DD6A09B}"/>
                </a:ext>
              </a:extLst>
            </p:cNvPr>
            <p:cNvGrpSpPr/>
            <p:nvPr/>
          </p:nvGrpSpPr>
          <p:grpSpPr>
            <a:xfrm>
              <a:off x="3006324" y="1728376"/>
              <a:ext cx="1183361" cy="2430160"/>
              <a:chOff x="3006324" y="5036284"/>
              <a:chExt cx="1183361" cy="2430160"/>
            </a:xfrm>
          </p:grpSpPr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CDBBC306-D689-5D32-73FA-7E6B7E9E3F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006324" y="5036284"/>
                <a:ext cx="1183361" cy="2430160"/>
              </a:xfrm>
              <a:prstGeom prst="roundRect">
                <a:avLst/>
              </a:prstGeom>
            </p:spPr>
          </p:pic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9E2C3793-EF48-B692-91EB-ACDF6A69B40A}"/>
                  </a:ext>
                </a:extLst>
              </p:cNvPr>
              <p:cNvSpPr/>
              <p:nvPr/>
            </p:nvSpPr>
            <p:spPr bwMode="auto">
              <a:xfrm>
                <a:off x="3698809" y="5830244"/>
                <a:ext cx="255240" cy="242445"/>
              </a:xfrm>
              <a:prstGeom prst="ellipse">
                <a:avLst/>
              </a:prstGeom>
              <a:noFill/>
              <a:ln w="38100" cap="flat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18288" bIns="18288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pl-PL" sz="1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1045" name="Picture 20">
              <a:extLst>
                <a:ext uri="{FF2B5EF4-FFF2-40B4-BE49-F238E27FC236}">
                  <a16:creationId xmlns:a16="http://schemas.microsoft.com/office/drawing/2014/main" id="{B8074CA0-EF87-81C5-67FE-83FE3B2509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1595" y="1777693"/>
              <a:ext cx="1073808" cy="2324407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8" name="Oval 1047">
            <a:extLst>
              <a:ext uri="{FF2B5EF4-FFF2-40B4-BE49-F238E27FC236}">
                <a16:creationId xmlns:a16="http://schemas.microsoft.com/office/drawing/2014/main" id="{8AD44D82-B2E6-1632-58C8-CDBD2717A37A}"/>
              </a:ext>
            </a:extLst>
          </p:cNvPr>
          <p:cNvSpPr/>
          <p:nvPr/>
        </p:nvSpPr>
        <p:spPr bwMode="auto">
          <a:xfrm>
            <a:off x="3309098" y="2730423"/>
            <a:ext cx="333942" cy="32392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46" name="Group 1045">
            <a:extLst>
              <a:ext uri="{FF2B5EF4-FFF2-40B4-BE49-F238E27FC236}">
                <a16:creationId xmlns:a16="http://schemas.microsoft.com/office/drawing/2014/main" id="{D27C238C-C902-CD59-056C-9ABFCAA5E26D}"/>
              </a:ext>
            </a:extLst>
          </p:cNvPr>
          <p:cNvGrpSpPr/>
          <p:nvPr/>
        </p:nvGrpSpPr>
        <p:grpSpPr>
          <a:xfrm>
            <a:off x="3826429" y="2128742"/>
            <a:ext cx="1183361" cy="2430160"/>
            <a:chOff x="3826429" y="2128742"/>
            <a:chExt cx="1183361" cy="2430160"/>
          </a:xfrm>
        </p:grpSpPr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904D43D1-888C-3A27-2E05-6276388FC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26429" y="2128742"/>
              <a:ext cx="1183361" cy="2430160"/>
            </a:xfrm>
            <a:prstGeom prst="roundRect">
              <a:avLst/>
            </a:prstGeom>
          </p:spPr>
        </p:pic>
        <p:pic>
          <p:nvPicPr>
            <p:cNvPr id="1041" name="Picture 12">
              <a:extLst>
                <a:ext uri="{FF2B5EF4-FFF2-40B4-BE49-F238E27FC236}">
                  <a16:creationId xmlns:a16="http://schemas.microsoft.com/office/drawing/2014/main" id="{62AE96FA-CFB0-F683-4DE1-66C736536D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2428" y="2186198"/>
              <a:ext cx="1061593" cy="2297965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9" name="Oval 1048">
            <a:extLst>
              <a:ext uri="{FF2B5EF4-FFF2-40B4-BE49-F238E27FC236}">
                <a16:creationId xmlns:a16="http://schemas.microsoft.com/office/drawing/2014/main" id="{1291A38B-42E1-7487-762F-613872657352}"/>
              </a:ext>
            </a:extLst>
          </p:cNvPr>
          <p:cNvSpPr/>
          <p:nvPr/>
        </p:nvSpPr>
        <p:spPr bwMode="auto">
          <a:xfrm>
            <a:off x="3881136" y="2441247"/>
            <a:ext cx="1128653" cy="17925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50" name="Group 1049">
            <a:extLst>
              <a:ext uri="{FF2B5EF4-FFF2-40B4-BE49-F238E27FC236}">
                <a16:creationId xmlns:a16="http://schemas.microsoft.com/office/drawing/2014/main" id="{8A6C3350-5080-CDE1-7632-E72AF64F003F}"/>
              </a:ext>
            </a:extLst>
          </p:cNvPr>
          <p:cNvGrpSpPr/>
          <p:nvPr/>
        </p:nvGrpSpPr>
        <p:grpSpPr>
          <a:xfrm>
            <a:off x="4646534" y="2529108"/>
            <a:ext cx="1183361" cy="2430160"/>
            <a:chOff x="4646534" y="2529108"/>
            <a:chExt cx="1183361" cy="2430160"/>
          </a:xfrm>
        </p:grpSpPr>
        <p:pic>
          <p:nvPicPr>
            <p:cNvPr id="1031" name="Picture 1030">
              <a:extLst>
                <a:ext uri="{FF2B5EF4-FFF2-40B4-BE49-F238E27FC236}">
                  <a16:creationId xmlns:a16="http://schemas.microsoft.com/office/drawing/2014/main" id="{C627BC50-7696-8224-BC3B-16E802556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46534" y="2529108"/>
              <a:ext cx="1183361" cy="2430160"/>
            </a:xfrm>
            <a:prstGeom prst="roundRect">
              <a:avLst/>
            </a:prstGeom>
          </p:spPr>
        </p:pic>
        <p:pic>
          <p:nvPicPr>
            <p:cNvPr id="1044" name="Picture 18">
              <a:extLst>
                <a:ext uri="{FF2B5EF4-FFF2-40B4-BE49-F238E27FC236}">
                  <a16:creationId xmlns:a16="http://schemas.microsoft.com/office/drawing/2014/main" id="{7910BD21-1D23-B7CB-51BD-42F9F6D31B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8155" y="2575717"/>
              <a:ext cx="1086168" cy="2351162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51" name="Oval 1050">
            <a:extLst>
              <a:ext uri="{FF2B5EF4-FFF2-40B4-BE49-F238E27FC236}">
                <a16:creationId xmlns:a16="http://schemas.microsoft.com/office/drawing/2014/main" id="{92B35A18-8B4C-B0BC-E2F7-223A34259FF9}"/>
              </a:ext>
            </a:extLst>
          </p:cNvPr>
          <p:cNvSpPr/>
          <p:nvPr/>
        </p:nvSpPr>
        <p:spPr bwMode="auto">
          <a:xfrm>
            <a:off x="4673863" y="3751298"/>
            <a:ext cx="1128653" cy="24306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5883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-67569" y="-10248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grpSp>
        <p:nvGrpSpPr>
          <p:cNvPr id="64" name="Group 18">
            <a:extLst>
              <a:ext uri="{FF2B5EF4-FFF2-40B4-BE49-F238E27FC236}">
                <a16:creationId xmlns:a16="http://schemas.microsoft.com/office/drawing/2014/main" id="{D9341741-A76C-95EB-0538-7BB1EB314405}"/>
              </a:ext>
            </a:extLst>
          </p:cNvPr>
          <p:cNvGrpSpPr>
            <a:grpSpLocks noChangeAspect="1"/>
          </p:cNvGrpSpPr>
          <p:nvPr/>
        </p:nvGrpSpPr>
        <p:grpSpPr>
          <a:xfrm>
            <a:off x="3550476" y="6274234"/>
            <a:ext cx="1976323" cy="1316630"/>
            <a:chOff x="-3936144" y="-2306834"/>
            <a:chExt cx="4881103" cy="3251793"/>
          </a:xfrm>
        </p:grpSpPr>
        <p:sp>
          <p:nvSpPr>
            <p:cNvPr id="68" name="TextBox 21">
              <a:extLst>
                <a:ext uri="{FF2B5EF4-FFF2-40B4-BE49-F238E27FC236}">
                  <a16:creationId xmlns:a16="http://schemas.microsoft.com/office/drawing/2014/main" id="{512932E0-8D4B-8D50-711D-2F49C8A67F9F}"/>
                </a:ext>
              </a:extLst>
            </p:cNvPr>
            <p:cNvSpPr txBox="1"/>
            <p:nvPr/>
          </p:nvSpPr>
          <p:spPr>
            <a:xfrm>
              <a:off x="0" y="-154295"/>
              <a:ext cx="944959" cy="1099254"/>
            </a:xfrm>
            <a:prstGeom prst="rect">
              <a:avLst/>
            </a:prstGeom>
          </p:spPr>
          <p:txBody>
            <a:bodyPr lIns="19483" tIns="19483" rIns="19483" bIns="19483" rtlCol="0" anchor="ctr"/>
            <a:lstStyle/>
            <a:p>
              <a:pPr>
                <a:lnSpc>
                  <a:spcPts val="805"/>
                </a:lnSpc>
              </a:pPr>
              <a:endParaRPr sz="525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256BD47D-C2AB-3341-1B6E-3424400F58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36144" y="-2306834"/>
              <a:ext cx="691059" cy="903348"/>
            </a:xfrm>
            <a:custGeom>
              <a:avLst/>
              <a:gdLst/>
              <a:ahLst/>
              <a:cxnLst/>
              <a:rect l="l" t="t" r="r" b="b"/>
              <a:pathLst>
                <a:path w="586055" h="766085">
                  <a:moveTo>
                    <a:pt x="0" y="0"/>
                  </a:moveTo>
                  <a:lnTo>
                    <a:pt x="586055" y="0"/>
                  </a:lnTo>
                  <a:lnTo>
                    <a:pt x="586055" y="766085"/>
                  </a:lnTo>
                  <a:lnTo>
                    <a:pt x="0" y="7660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pl-PL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AF1E9B0-C5D3-C394-4D73-9AB5CCA6BFBA}"/>
              </a:ext>
            </a:extLst>
          </p:cNvPr>
          <p:cNvGrpSpPr/>
          <p:nvPr/>
        </p:nvGrpSpPr>
        <p:grpSpPr>
          <a:xfrm>
            <a:off x="-146310" y="316634"/>
            <a:ext cx="6520377" cy="1865379"/>
            <a:chOff x="-256998" y="1273158"/>
            <a:chExt cx="6520377" cy="1886106"/>
          </a:xfrm>
        </p:grpSpPr>
        <p:sp>
          <p:nvSpPr>
            <p:cNvPr id="51" name="TextBox 33">
              <a:extLst>
                <a:ext uri="{FF2B5EF4-FFF2-40B4-BE49-F238E27FC236}">
                  <a16:creationId xmlns:a16="http://schemas.microsoft.com/office/drawing/2014/main" id="{AD165D3D-8493-469A-16B1-C458DB625BD6}"/>
                </a:ext>
              </a:extLst>
            </p:cNvPr>
            <p:cNvSpPr txBox="1"/>
            <p:nvPr/>
          </p:nvSpPr>
          <p:spPr>
            <a:xfrm>
              <a:off x="370430" y="2037476"/>
              <a:ext cx="4489919" cy="2240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638"/>
                </a:lnSpc>
              </a:pPr>
              <a:r>
                <a:rPr lang="pl-PL" sz="2400" b="1">
                  <a:solidFill>
                    <a:srgbClr val="FFFFFF"/>
                  </a:solidFill>
                  <a:latin typeface="Fira Sans Bold"/>
                </a:rPr>
                <a:t>Przeglądanie strony głównej...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4ECC606-96E5-141A-E55D-10C1485A15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01" t="26893" r="44493" b="48653"/>
            <a:stretch/>
          </p:blipFill>
          <p:spPr>
            <a:xfrm flipH="1">
              <a:off x="-256998" y="1273158"/>
              <a:ext cx="4489919" cy="1886106"/>
            </a:xfrm>
            <a:custGeom>
              <a:avLst/>
              <a:gdLst>
                <a:gd name="connsiteX0" fmla="*/ 5762061 w 5962266"/>
                <a:gd name="connsiteY0" fmla="*/ 0 h 1886106"/>
                <a:gd name="connsiteX1" fmla="*/ 321348 w 5962266"/>
                <a:gd name="connsiteY1" fmla="*/ 0 h 1886106"/>
                <a:gd name="connsiteX2" fmla="*/ 0 w 5962266"/>
                <a:gd name="connsiteY2" fmla="*/ 258770 h 1886106"/>
                <a:gd name="connsiteX3" fmla="*/ 0 w 5962266"/>
                <a:gd name="connsiteY3" fmla="*/ 1627336 h 1886106"/>
                <a:gd name="connsiteX4" fmla="*/ 94118 w 5962266"/>
                <a:gd name="connsiteY4" fmla="*/ 1810316 h 1886106"/>
                <a:gd name="connsiteX5" fmla="*/ 321348 w 5962266"/>
                <a:gd name="connsiteY5" fmla="*/ 1886106 h 1886106"/>
                <a:gd name="connsiteX6" fmla="*/ 5762061 w 5962266"/>
                <a:gd name="connsiteY6" fmla="*/ 1886106 h 1886106"/>
                <a:gd name="connsiteX7" fmla="*/ 5941728 w 5962266"/>
                <a:gd name="connsiteY7" fmla="*/ 1841912 h 1886106"/>
                <a:gd name="connsiteX8" fmla="*/ 5962266 w 5962266"/>
                <a:gd name="connsiteY8" fmla="*/ 1828266 h 1886106"/>
                <a:gd name="connsiteX9" fmla="*/ 5962266 w 5962266"/>
                <a:gd name="connsiteY9" fmla="*/ 57840 h 1886106"/>
                <a:gd name="connsiteX10" fmla="*/ 5941728 w 5962266"/>
                <a:gd name="connsiteY10" fmla="*/ 44195 h 1886106"/>
                <a:gd name="connsiteX11" fmla="*/ 5762061 w 5962266"/>
                <a:gd name="connsiteY11" fmla="*/ 0 h 188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62266" h="1886106">
                  <a:moveTo>
                    <a:pt x="5762061" y="0"/>
                  </a:moveTo>
                  <a:lnTo>
                    <a:pt x="321348" y="0"/>
                  </a:lnTo>
                  <a:cubicBezTo>
                    <a:pt x="143875" y="0"/>
                    <a:pt x="0" y="115857"/>
                    <a:pt x="0" y="258770"/>
                  </a:cubicBezTo>
                  <a:lnTo>
                    <a:pt x="0" y="1627336"/>
                  </a:lnTo>
                  <a:cubicBezTo>
                    <a:pt x="0" y="1695966"/>
                    <a:pt x="33853" y="1761787"/>
                    <a:pt x="94118" y="1810316"/>
                  </a:cubicBezTo>
                  <a:cubicBezTo>
                    <a:pt x="154383" y="1858846"/>
                    <a:pt x="236122" y="1886106"/>
                    <a:pt x="321348" y="1886106"/>
                  </a:cubicBezTo>
                  <a:lnTo>
                    <a:pt x="5762061" y="1886106"/>
                  </a:lnTo>
                  <a:cubicBezTo>
                    <a:pt x="5828613" y="1886106"/>
                    <a:pt x="5890440" y="1869814"/>
                    <a:pt x="5941728" y="1841912"/>
                  </a:cubicBezTo>
                  <a:lnTo>
                    <a:pt x="5962266" y="1828266"/>
                  </a:lnTo>
                  <a:lnTo>
                    <a:pt x="5962266" y="57840"/>
                  </a:lnTo>
                  <a:lnTo>
                    <a:pt x="5941728" y="44195"/>
                  </a:lnTo>
                  <a:cubicBezTo>
                    <a:pt x="5890440" y="16293"/>
                    <a:pt x="5828613" y="0"/>
                    <a:pt x="5762061" y="0"/>
                  </a:cubicBezTo>
                  <a:close/>
                </a:path>
              </a:pathLst>
            </a:custGeom>
          </p:spPr>
        </p:pic>
        <p:sp>
          <p:nvSpPr>
            <p:cNvPr id="18" name="Freeform 3">
              <a:extLst>
                <a:ext uri="{FF2B5EF4-FFF2-40B4-BE49-F238E27FC236}">
                  <a16:creationId xmlns:a16="http://schemas.microsoft.com/office/drawing/2014/main" id="{9B3D4770-4EB1-EA66-E640-3306F83324FD}"/>
                </a:ext>
              </a:extLst>
            </p:cNvPr>
            <p:cNvSpPr/>
            <p:nvPr/>
          </p:nvSpPr>
          <p:spPr>
            <a:xfrm>
              <a:off x="-256782" y="1273158"/>
              <a:ext cx="4489704" cy="1886106"/>
            </a:xfrm>
            <a:custGeom>
              <a:avLst/>
              <a:gdLst/>
              <a:ahLst/>
              <a:cxnLst/>
              <a:rect l="l" t="t" r="r" b="b"/>
              <a:pathLst>
                <a:path w="812800" h="312942">
                  <a:moveTo>
                    <a:pt x="42935" y="0"/>
                  </a:moveTo>
                  <a:lnTo>
                    <a:pt x="769865" y="0"/>
                  </a:lnTo>
                  <a:cubicBezTo>
                    <a:pt x="793577" y="0"/>
                    <a:pt x="812800" y="19223"/>
                    <a:pt x="812800" y="42935"/>
                  </a:cubicBezTo>
                  <a:lnTo>
                    <a:pt x="812800" y="270007"/>
                  </a:lnTo>
                  <a:cubicBezTo>
                    <a:pt x="812800" y="281394"/>
                    <a:pt x="808277" y="292315"/>
                    <a:pt x="800225" y="300367"/>
                  </a:cubicBezTo>
                  <a:cubicBezTo>
                    <a:pt x="792173" y="308419"/>
                    <a:pt x="781252" y="312942"/>
                    <a:pt x="769865" y="312942"/>
                  </a:cubicBezTo>
                  <a:lnTo>
                    <a:pt x="42935" y="312942"/>
                  </a:lnTo>
                  <a:cubicBezTo>
                    <a:pt x="19223" y="312942"/>
                    <a:pt x="0" y="293719"/>
                    <a:pt x="0" y="270007"/>
                  </a:cubicBezTo>
                  <a:lnTo>
                    <a:pt x="0" y="42935"/>
                  </a:lnTo>
                  <a:cubicBezTo>
                    <a:pt x="0" y="19223"/>
                    <a:pt x="19223" y="0"/>
                    <a:pt x="42935" y="0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</p:spPr>
          <p:txBody>
            <a:bodyPr/>
            <a:lstStyle/>
            <a:p>
              <a:endParaRPr lang="pl-PL" sz="5400" b="1">
                <a:latin typeface="Fira Sans" panose="020B05030500000200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B58F9A6-A42B-781F-1D5A-B59576AA6494}"/>
                </a:ext>
              </a:extLst>
            </p:cNvPr>
            <p:cNvSpPr txBox="1"/>
            <p:nvPr/>
          </p:nvSpPr>
          <p:spPr>
            <a:xfrm>
              <a:off x="238107" y="1606439"/>
              <a:ext cx="6025272" cy="1213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pl-PL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Opis </a:t>
              </a:r>
              <a:br>
                <a:rPr lang="en-US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</a:br>
              <a:r>
                <a:rPr lang="pl-PL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strony głównej...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D985844-5007-4D31-EE6B-271CF4FC6697}"/>
              </a:ext>
            </a:extLst>
          </p:cNvPr>
          <p:cNvGrpSpPr/>
          <p:nvPr/>
        </p:nvGrpSpPr>
        <p:grpSpPr>
          <a:xfrm>
            <a:off x="3475112" y="5531123"/>
            <a:ext cx="3139048" cy="538171"/>
            <a:chOff x="3475112" y="5568668"/>
            <a:chExt cx="3139048" cy="538171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801896B-D4A4-9402-BE85-7614B04B6786}"/>
                </a:ext>
              </a:extLst>
            </p:cNvPr>
            <p:cNvSpPr txBox="1"/>
            <p:nvPr/>
          </p:nvSpPr>
          <p:spPr>
            <a:xfrm>
              <a:off x="4000056" y="5583619"/>
              <a:ext cx="2614104" cy="52322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pl-PL" b="1" i="1" dirty="0">
                  <a:latin typeface="+mj-lt"/>
                  <a:cs typeface="Arial"/>
                </a:rPr>
                <a:t>Wyświetlanie profilu i aktualizowanie numeru telefonu</a:t>
              </a:r>
              <a:endParaRPr lang="pl-PL" i="1" dirty="0">
                <a:latin typeface="+mj-lt"/>
                <a:cs typeface="Arial"/>
              </a:endParaRPr>
            </a:p>
          </p:txBody>
        </p:sp>
        <p:pic>
          <p:nvPicPr>
            <p:cNvPr id="21" name="Picture 20" descr="A blue circle with a black background&#10;&#10;Description automatically generated">
              <a:extLst>
                <a:ext uri="{FF2B5EF4-FFF2-40B4-BE49-F238E27FC236}">
                  <a16:creationId xmlns:a16="http://schemas.microsoft.com/office/drawing/2014/main" id="{C42C4BFE-D913-19B8-1DCD-69CC56E18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475112" y="5568668"/>
              <a:ext cx="512230" cy="507996"/>
            </a:xfrm>
            <a:prstGeom prst="rect">
              <a:avLst/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33FBDF30-F486-DB99-1720-AB49F8CD8902}"/>
              </a:ext>
            </a:extLst>
          </p:cNvPr>
          <p:cNvSpPr txBox="1"/>
          <p:nvPr/>
        </p:nvSpPr>
        <p:spPr>
          <a:xfrm>
            <a:off x="3997744" y="3620270"/>
            <a:ext cx="2677376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Aft>
                <a:spcPts val="1200"/>
              </a:spcAft>
            </a:pPr>
            <a:r>
              <a:rPr lang="pl-PL" b="1" i="1" dirty="0">
                <a:latin typeface="+mj-lt"/>
                <a:cs typeface="Arial"/>
              </a:rPr>
              <a:t>Powiadomienia aplikacji w czasie zbliżonym do rzeczywistego</a:t>
            </a:r>
            <a:endParaRPr lang="pl-PL" i="1" dirty="0">
              <a:latin typeface="+mj-lt"/>
              <a:cs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CBC6B7C-0997-6994-042F-1E6EEE98B99B}"/>
              </a:ext>
            </a:extLst>
          </p:cNvPr>
          <p:cNvGrpSpPr/>
          <p:nvPr/>
        </p:nvGrpSpPr>
        <p:grpSpPr>
          <a:xfrm>
            <a:off x="3477229" y="4853025"/>
            <a:ext cx="3313202" cy="562221"/>
            <a:chOff x="3477229" y="4860010"/>
            <a:chExt cx="3313202" cy="56222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648B534-864E-6BCD-9EAA-2E9D6279B097}"/>
                </a:ext>
              </a:extLst>
            </p:cNvPr>
            <p:cNvSpPr txBox="1"/>
            <p:nvPr/>
          </p:nvSpPr>
          <p:spPr>
            <a:xfrm>
              <a:off x="4000056" y="4899011"/>
              <a:ext cx="2790375" cy="52322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pl-PL" b="1" dirty="0">
                  <a:latin typeface="+mj-lt"/>
                  <a:cs typeface="Arial"/>
                </a:rPr>
                <a:t>Wyświetlanie </a:t>
              </a:r>
              <a:br>
                <a:rPr lang="en-US" b="1" dirty="0">
                  <a:latin typeface="+mj-lt"/>
                  <a:cs typeface="Arial"/>
                </a:rPr>
              </a:br>
              <a:r>
                <a:rPr lang="pl-PL" b="1" dirty="0">
                  <a:latin typeface="+mj-lt"/>
                  <a:cs typeface="Arial"/>
                </a:rPr>
                <a:t>przypisanych klientów</a:t>
              </a:r>
              <a:endParaRPr lang="pl-PL" i="1" dirty="0">
                <a:latin typeface="+mj-lt"/>
                <a:cs typeface="Arial"/>
              </a:endParaRPr>
            </a:p>
          </p:txBody>
        </p:sp>
        <p:pic>
          <p:nvPicPr>
            <p:cNvPr id="46" name="Picture 45" descr="A blue circle with black and grey outline of people&#10;&#10;Description automatically generated">
              <a:extLst>
                <a:ext uri="{FF2B5EF4-FFF2-40B4-BE49-F238E27FC236}">
                  <a16:creationId xmlns:a16="http://schemas.microsoft.com/office/drawing/2014/main" id="{B4157870-0478-F18A-435C-6038809B8A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77229" y="4860010"/>
              <a:ext cx="507996" cy="507996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1DD0402-A793-3224-B294-FBD14471ECC6}"/>
              </a:ext>
            </a:extLst>
          </p:cNvPr>
          <p:cNvGrpSpPr/>
          <p:nvPr/>
        </p:nvGrpSpPr>
        <p:grpSpPr>
          <a:xfrm>
            <a:off x="3476412" y="6885117"/>
            <a:ext cx="2673360" cy="536682"/>
            <a:chOff x="3396497" y="6289464"/>
            <a:chExt cx="2673360" cy="53668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BED727F-4103-F52F-279E-9F39DB6B81BD}"/>
                </a:ext>
              </a:extLst>
            </p:cNvPr>
            <p:cNvSpPr txBox="1"/>
            <p:nvPr/>
          </p:nvSpPr>
          <p:spPr>
            <a:xfrm>
              <a:off x="3923329" y="6302926"/>
              <a:ext cx="2146528" cy="52322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pl-PL" b="1" dirty="0">
                  <a:latin typeface="+mj-lt"/>
                  <a:cs typeface="Arial"/>
                </a:rPr>
                <a:t>Kontakt z działem wparcia Help at Home</a:t>
              </a:r>
              <a:endParaRPr lang="pl-PL" i="1" dirty="0">
                <a:latin typeface="+mj-lt"/>
                <a:cs typeface="Arial"/>
              </a:endParaRPr>
            </a:p>
          </p:txBody>
        </p:sp>
        <p:pic>
          <p:nvPicPr>
            <p:cNvPr id="60" name="Picture 59" descr="A phone logo in a circle&#10;&#10;Description automatically generated">
              <a:extLst>
                <a:ext uri="{FF2B5EF4-FFF2-40B4-BE49-F238E27FC236}">
                  <a16:creationId xmlns:a16="http://schemas.microsoft.com/office/drawing/2014/main" id="{A2C8C99A-493B-A27B-8FDD-A425D5B7F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96497" y="6289464"/>
              <a:ext cx="521332" cy="521332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114BD83B-8AC2-F743-3C63-C178005B7391}"/>
              </a:ext>
            </a:extLst>
          </p:cNvPr>
          <p:cNvSpPr txBox="1"/>
          <p:nvPr/>
        </p:nvSpPr>
        <p:spPr>
          <a:xfrm>
            <a:off x="4003244" y="6299767"/>
            <a:ext cx="2422280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>
              <a:spcAft>
                <a:spcPts val="1200"/>
              </a:spcAft>
            </a:pPr>
            <a:r>
              <a:rPr lang="pl-PL" b="1" i="1" dirty="0">
                <a:latin typeface="+mj-lt"/>
                <a:cs typeface="Arial"/>
              </a:rPr>
              <a:t>Wyświetlanie harmonogramu</a:t>
            </a:r>
            <a:endParaRPr lang="pl-PL" i="1" dirty="0">
              <a:latin typeface="+mj-lt"/>
              <a:cs typeface="Arial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A669A76-5F30-44A1-06C9-54228F892F3E}"/>
              </a:ext>
            </a:extLst>
          </p:cNvPr>
          <p:cNvGrpSpPr/>
          <p:nvPr/>
        </p:nvGrpSpPr>
        <p:grpSpPr>
          <a:xfrm>
            <a:off x="3477229" y="4253918"/>
            <a:ext cx="3055189" cy="529223"/>
            <a:chOff x="3324829" y="4101518"/>
            <a:chExt cx="3055189" cy="529223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EDAF53C-4A3E-15E9-9B76-B03813E492C2}"/>
                </a:ext>
              </a:extLst>
            </p:cNvPr>
            <p:cNvSpPr txBox="1"/>
            <p:nvPr/>
          </p:nvSpPr>
          <p:spPr>
            <a:xfrm>
              <a:off x="3824464" y="4107521"/>
              <a:ext cx="2555554" cy="523220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pl-PL" b="1" dirty="0">
                  <a:latin typeface="+mj-lt"/>
                  <a:cs typeface="Arial"/>
                </a:rPr>
                <a:t>Wyświetlanie i pobieranie odcinków wypłat</a:t>
              </a:r>
              <a:endParaRPr lang="pl-PL" i="1" dirty="0">
                <a:latin typeface="+mj-lt"/>
                <a:cs typeface="Arial"/>
              </a:endParaRPr>
            </a:p>
          </p:txBody>
        </p:sp>
        <p:pic>
          <p:nvPicPr>
            <p:cNvPr id="43" name="Picture 42" descr="A black and white circle with a wallet and cards in it&#10;&#10;Description automatically generated">
              <a:extLst>
                <a:ext uri="{FF2B5EF4-FFF2-40B4-BE49-F238E27FC236}">
                  <a16:creationId xmlns:a16="http://schemas.microsoft.com/office/drawing/2014/main" id="{6293700D-54C0-2202-6500-D88BF46AA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324829" y="4101518"/>
              <a:ext cx="507996" cy="507996"/>
            </a:xfrm>
            <a:prstGeom prst="rect">
              <a:avLst/>
            </a:prstGeom>
          </p:spPr>
        </p:pic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DD77EDF2-66D2-608D-3766-CA324A500A0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68867" y="3654811"/>
            <a:ext cx="507997" cy="50463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04145203-BADB-524A-BD2D-20ED8A2D1EF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81035" y="6193724"/>
            <a:ext cx="519021" cy="5213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C6CA904-9B58-AFC8-6E2A-1C3FD4BD8E2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2476" y="2670418"/>
            <a:ext cx="2820591" cy="5211764"/>
          </a:xfrm>
          <a:prstGeom prst="rect">
            <a:avLst/>
          </a:prstGeom>
        </p:spPr>
      </p:pic>
      <p:grpSp>
        <p:nvGrpSpPr>
          <p:cNvPr id="44" name="Group 16">
            <a:extLst>
              <a:ext uri="{FF2B5EF4-FFF2-40B4-BE49-F238E27FC236}">
                <a16:creationId xmlns:a16="http://schemas.microsoft.com/office/drawing/2014/main" id="{F57B4E21-4B37-AF53-4C25-0C1F34FB37F6}"/>
              </a:ext>
            </a:extLst>
          </p:cNvPr>
          <p:cNvGrpSpPr/>
          <p:nvPr/>
        </p:nvGrpSpPr>
        <p:grpSpPr>
          <a:xfrm>
            <a:off x="2653258" y="3102617"/>
            <a:ext cx="526591" cy="357561"/>
            <a:chOff x="0" y="0"/>
            <a:chExt cx="751051" cy="342834"/>
          </a:xfrm>
        </p:grpSpPr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2ED3652B-F704-6C34-6A44-07BF1FB9FDDB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pl-PL"/>
            </a:p>
          </p:txBody>
        </p:sp>
        <p:sp>
          <p:nvSpPr>
            <p:cNvPr id="47" name="TextBox 18">
              <a:extLst>
                <a:ext uri="{FF2B5EF4-FFF2-40B4-BE49-F238E27FC236}">
                  <a16:creationId xmlns:a16="http://schemas.microsoft.com/office/drawing/2014/main" id="{144E0CF5-28B4-C0AF-49AB-8118FCCB9C2B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30" name="Group 16">
            <a:extLst>
              <a:ext uri="{FF2B5EF4-FFF2-40B4-BE49-F238E27FC236}">
                <a16:creationId xmlns:a16="http://schemas.microsoft.com/office/drawing/2014/main" id="{EA6EE337-F3B8-7DA8-FF81-5A67D71E8558}"/>
              </a:ext>
            </a:extLst>
          </p:cNvPr>
          <p:cNvGrpSpPr/>
          <p:nvPr/>
        </p:nvGrpSpPr>
        <p:grpSpPr>
          <a:xfrm>
            <a:off x="627242" y="3555661"/>
            <a:ext cx="2474082" cy="930827"/>
            <a:chOff x="0" y="0"/>
            <a:chExt cx="751051" cy="342834"/>
          </a:xfrm>
        </p:grpSpPr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84CE3576-E093-2AFE-A826-DFC80D874677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pl-PL"/>
            </a:p>
          </p:txBody>
        </p:sp>
        <p:sp>
          <p:nvSpPr>
            <p:cNvPr id="32" name="TextBox 18">
              <a:extLst>
                <a:ext uri="{FF2B5EF4-FFF2-40B4-BE49-F238E27FC236}">
                  <a16:creationId xmlns:a16="http://schemas.microsoft.com/office/drawing/2014/main" id="{964C1AA1-7C5C-A778-44AB-3AB4BFDD1784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20" name="Group 16">
            <a:extLst>
              <a:ext uri="{FF2B5EF4-FFF2-40B4-BE49-F238E27FC236}">
                <a16:creationId xmlns:a16="http://schemas.microsoft.com/office/drawing/2014/main" id="{489B8539-E729-7C17-7AF3-9994D8A8FAEE}"/>
              </a:ext>
            </a:extLst>
          </p:cNvPr>
          <p:cNvGrpSpPr/>
          <p:nvPr/>
        </p:nvGrpSpPr>
        <p:grpSpPr>
          <a:xfrm>
            <a:off x="1874206" y="4645282"/>
            <a:ext cx="1214909" cy="758328"/>
            <a:chOff x="0" y="0"/>
            <a:chExt cx="751051" cy="342834"/>
          </a:xfrm>
        </p:grpSpPr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E32CE30F-4ED8-EDF7-B441-3465925A4181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pl-PL"/>
            </a:p>
          </p:txBody>
        </p:sp>
        <p:sp>
          <p:nvSpPr>
            <p:cNvPr id="24" name="TextBox 18">
              <a:extLst>
                <a:ext uri="{FF2B5EF4-FFF2-40B4-BE49-F238E27FC236}">
                  <a16:creationId xmlns:a16="http://schemas.microsoft.com/office/drawing/2014/main" id="{3A398106-709B-82FB-AF3D-0EF12A5860ED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4804B38A-BEA4-BA4F-ECEA-EC4F9DA417E8}"/>
              </a:ext>
            </a:extLst>
          </p:cNvPr>
          <p:cNvGrpSpPr/>
          <p:nvPr/>
        </p:nvGrpSpPr>
        <p:grpSpPr>
          <a:xfrm>
            <a:off x="605730" y="5525098"/>
            <a:ext cx="2474082" cy="815166"/>
            <a:chOff x="0" y="0"/>
            <a:chExt cx="751051" cy="342834"/>
          </a:xfrm>
        </p:grpSpPr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124FF809-FF1B-9588-618A-1FF5F60A5875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pl-PL"/>
            </a:p>
          </p:txBody>
        </p:sp>
        <p:sp>
          <p:nvSpPr>
            <p:cNvPr id="13" name="TextBox 18">
              <a:extLst>
                <a:ext uri="{FF2B5EF4-FFF2-40B4-BE49-F238E27FC236}">
                  <a16:creationId xmlns:a16="http://schemas.microsoft.com/office/drawing/2014/main" id="{FE2417AE-3F67-DA49-200F-7CA8C0F102AC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26" name="Group 16">
            <a:extLst>
              <a:ext uri="{FF2B5EF4-FFF2-40B4-BE49-F238E27FC236}">
                <a16:creationId xmlns:a16="http://schemas.microsoft.com/office/drawing/2014/main" id="{DF640064-11CE-BE66-D9A7-65CC7A4CE927}"/>
              </a:ext>
            </a:extLst>
          </p:cNvPr>
          <p:cNvGrpSpPr/>
          <p:nvPr/>
        </p:nvGrpSpPr>
        <p:grpSpPr>
          <a:xfrm>
            <a:off x="637165" y="6615461"/>
            <a:ext cx="2474082" cy="950870"/>
            <a:chOff x="0" y="0"/>
            <a:chExt cx="751051" cy="342834"/>
          </a:xfrm>
        </p:grpSpPr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4F081B77-0A8B-90FE-FA6E-FE0AA0D9E65B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pl-PL"/>
            </a:p>
          </p:txBody>
        </p:sp>
        <p:sp>
          <p:nvSpPr>
            <p:cNvPr id="29" name="TextBox 18">
              <a:extLst>
                <a:ext uri="{FF2B5EF4-FFF2-40B4-BE49-F238E27FC236}">
                  <a16:creationId xmlns:a16="http://schemas.microsoft.com/office/drawing/2014/main" id="{0B3D2B62-21C2-0DD8-2432-7905FFEB1C1D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  <p:grpSp>
        <p:nvGrpSpPr>
          <p:cNvPr id="14" name="Group 16">
            <a:extLst>
              <a:ext uri="{FF2B5EF4-FFF2-40B4-BE49-F238E27FC236}">
                <a16:creationId xmlns:a16="http://schemas.microsoft.com/office/drawing/2014/main" id="{A8501D5A-59FA-0B7E-96A3-3BF172CE8349}"/>
              </a:ext>
            </a:extLst>
          </p:cNvPr>
          <p:cNvGrpSpPr/>
          <p:nvPr/>
        </p:nvGrpSpPr>
        <p:grpSpPr>
          <a:xfrm>
            <a:off x="561217" y="4635422"/>
            <a:ext cx="1169755" cy="758328"/>
            <a:chOff x="0" y="0"/>
            <a:chExt cx="751051" cy="342834"/>
          </a:xfrm>
        </p:grpSpPr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91D78CE0-49E9-C4FA-B649-6089D27DDEAF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pl-PL"/>
            </a:p>
          </p:txBody>
        </p:sp>
        <p:sp>
          <p:nvSpPr>
            <p:cNvPr id="16" name="TextBox 18">
              <a:extLst>
                <a:ext uri="{FF2B5EF4-FFF2-40B4-BE49-F238E27FC236}">
                  <a16:creationId xmlns:a16="http://schemas.microsoft.com/office/drawing/2014/main" id="{11827A84-0328-3BB2-90C7-F64810B84F39}"/>
                </a:ext>
              </a:extLst>
            </p:cNvPr>
            <p:cNvSpPr txBox="1"/>
            <p:nvPr/>
          </p:nvSpPr>
          <p:spPr>
            <a:xfrm>
              <a:off x="0" y="-47625"/>
              <a:ext cx="751051" cy="390459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027983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7FFB38-1700-11DC-319D-55F1D54028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27A632A-6ECE-27B5-EC1D-0C331AFF8AFF}"/>
              </a:ext>
            </a:extLst>
          </p:cNvPr>
          <p:cNvSpPr/>
          <p:nvPr/>
        </p:nvSpPr>
        <p:spPr bwMode="auto">
          <a:xfrm>
            <a:off x="50294" y="-486495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E3DC8C1-B5B4-115C-BE78-B08D152B5B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4009" y="8682623"/>
            <a:ext cx="1073746" cy="557636"/>
          </a:xfrm>
          <a:prstGeom prst="rect">
            <a:avLst/>
          </a:prstGeom>
        </p:spPr>
      </p:pic>
      <p:grpSp>
        <p:nvGrpSpPr>
          <p:cNvPr id="64" name="Group 18">
            <a:extLst>
              <a:ext uri="{FF2B5EF4-FFF2-40B4-BE49-F238E27FC236}">
                <a16:creationId xmlns:a16="http://schemas.microsoft.com/office/drawing/2014/main" id="{1D63C6FD-5720-C142-5482-555FEF2D6102}"/>
              </a:ext>
            </a:extLst>
          </p:cNvPr>
          <p:cNvGrpSpPr>
            <a:grpSpLocks noChangeAspect="1"/>
          </p:cNvGrpSpPr>
          <p:nvPr/>
        </p:nvGrpSpPr>
        <p:grpSpPr>
          <a:xfrm>
            <a:off x="3550476" y="6274234"/>
            <a:ext cx="1976323" cy="1316630"/>
            <a:chOff x="-3936144" y="-2306834"/>
            <a:chExt cx="4881103" cy="3251793"/>
          </a:xfrm>
        </p:grpSpPr>
        <p:sp>
          <p:nvSpPr>
            <p:cNvPr id="68" name="TextBox 21">
              <a:extLst>
                <a:ext uri="{FF2B5EF4-FFF2-40B4-BE49-F238E27FC236}">
                  <a16:creationId xmlns:a16="http://schemas.microsoft.com/office/drawing/2014/main" id="{32E2D124-F4E1-67EB-65EB-FF03F6F353B1}"/>
                </a:ext>
              </a:extLst>
            </p:cNvPr>
            <p:cNvSpPr txBox="1"/>
            <p:nvPr/>
          </p:nvSpPr>
          <p:spPr>
            <a:xfrm>
              <a:off x="0" y="-154295"/>
              <a:ext cx="944959" cy="1099254"/>
            </a:xfrm>
            <a:prstGeom prst="rect">
              <a:avLst/>
            </a:prstGeom>
          </p:spPr>
          <p:txBody>
            <a:bodyPr lIns="19483" tIns="19483" rIns="19483" bIns="19483" rtlCol="0" anchor="ctr"/>
            <a:lstStyle/>
            <a:p>
              <a:pPr>
                <a:lnSpc>
                  <a:spcPts val="805"/>
                </a:lnSpc>
              </a:pPr>
              <a:endParaRPr sz="525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1FFCAA82-4C95-2961-C01F-1D31410EB1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3936144" y="-2306834"/>
              <a:ext cx="691059" cy="903348"/>
            </a:xfrm>
            <a:custGeom>
              <a:avLst/>
              <a:gdLst/>
              <a:ahLst/>
              <a:cxnLst/>
              <a:rect l="l" t="t" r="r" b="b"/>
              <a:pathLst>
                <a:path w="586055" h="766085">
                  <a:moveTo>
                    <a:pt x="0" y="0"/>
                  </a:moveTo>
                  <a:lnTo>
                    <a:pt x="586055" y="0"/>
                  </a:lnTo>
                  <a:lnTo>
                    <a:pt x="586055" y="766085"/>
                  </a:lnTo>
                  <a:lnTo>
                    <a:pt x="0" y="76608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pl-PL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5593171-F5D2-69EB-670C-078CB133A0D3}"/>
              </a:ext>
            </a:extLst>
          </p:cNvPr>
          <p:cNvGrpSpPr/>
          <p:nvPr/>
        </p:nvGrpSpPr>
        <p:grpSpPr>
          <a:xfrm>
            <a:off x="-146310" y="316635"/>
            <a:ext cx="6390135" cy="1745696"/>
            <a:chOff x="-256998" y="1273158"/>
            <a:chExt cx="6520377" cy="1886106"/>
          </a:xfrm>
        </p:grpSpPr>
        <p:sp>
          <p:nvSpPr>
            <p:cNvPr id="51" name="TextBox 33">
              <a:extLst>
                <a:ext uri="{FF2B5EF4-FFF2-40B4-BE49-F238E27FC236}">
                  <a16:creationId xmlns:a16="http://schemas.microsoft.com/office/drawing/2014/main" id="{10C29231-57D5-C958-E986-084606DA8865}"/>
                </a:ext>
              </a:extLst>
            </p:cNvPr>
            <p:cNvSpPr txBox="1"/>
            <p:nvPr/>
          </p:nvSpPr>
          <p:spPr>
            <a:xfrm>
              <a:off x="370430" y="2037476"/>
              <a:ext cx="4489919" cy="22403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1638"/>
                </a:lnSpc>
              </a:pPr>
              <a:r>
                <a:rPr lang="pl-PL" sz="2400" b="1">
                  <a:solidFill>
                    <a:srgbClr val="FFFFFF"/>
                  </a:solidFill>
                  <a:latin typeface="Fira Sans Bold"/>
                </a:rPr>
                <a:t>Przeglądanie strony głównej...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7C6B0B8-F417-2DA0-8D03-E71174888F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01" t="26893" r="44493" b="48653"/>
            <a:stretch/>
          </p:blipFill>
          <p:spPr>
            <a:xfrm flipH="1">
              <a:off x="-256998" y="1273158"/>
              <a:ext cx="4489919" cy="1886106"/>
            </a:xfrm>
            <a:custGeom>
              <a:avLst/>
              <a:gdLst>
                <a:gd name="connsiteX0" fmla="*/ 5762061 w 5962266"/>
                <a:gd name="connsiteY0" fmla="*/ 0 h 1886106"/>
                <a:gd name="connsiteX1" fmla="*/ 321348 w 5962266"/>
                <a:gd name="connsiteY1" fmla="*/ 0 h 1886106"/>
                <a:gd name="connsiteX2" fmla="*/ 0 w 5962266"/>
                <a:gd name="connsiteY2" fmla="*/ 258770 h 1886106"/>
                <a:gd name="connsiteX3" fmla="*/ 0 w 5962266"/>
                <a:gd name="connsiteY3" fmla="*/ 1627336 h 1886106"/>
                <a:gd name="connsiteX4" fmla="*/ 94118 w 5962266"/>
                <a:gd name="connsiteY4" fmla="*/ 1810316 h 1886106"/>
                <a:gd name="connsiteX5" fmla="*/ 321348 w 5962266"/>
                <a:gd name="connsiteY5" fmla="*/ 1886106 h 1886106"/>
                <a:gd name="connsiteX6" fmla="*/ 5762061 w 5962266"/>
                <a:gd name="connsiteY6" fmla="*/ 1886106 h 1886106"/>
                <a:gd name="connsiteX7" fmla="*/ 5941728 w 5962266"/>
                <a:gd name="connsiteY7" fmla="*/ 1841912 h 1886106"/>
                <a:gd name="connsiteX8" fmla="*/ 5962266 w 5962266"/>
                <a:gd name="connsiteY8" fmla="*/ 1828266 h 1886106"/>
                <a:gd name="connsiteX9" fmla="*/ 5962266 w 5962266"/>
                <a:gd name="connsiteY9" fmla="*/ 57840 h 1886106"/>
                <a:gd name="connsiteX10" fmla="*/ 5941728 w 5962266"/>
                <a:gd name="connsiteY10" fmla="*/ 44195 h 1886106"/>
                <a:gd name="connsiteX11" fmla="*/ 5762061 w 5962266"/>
                <a:gd name="connsiteY11" fmla="*/ 0 h 1886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962266" h="1886106">
                  <a:moveTo>
                    <a:pt x="5762061" y="0"/>
                  </a:moveTo>
                  <a:lnTo>
                    <a:pt x="321348" y="0"/>
                  </a:lnTo>
                  <a:cubicBezTo>
                    <a:pt x="143875" y="0"/>
                    <a:pt x="0" y="115857"/>
                    <a:pt x="0" y="258770"/>
                  </a:cubicBezTo>
                  <a:lnTo>
                    <a:pt x="0" y="1627336"/>
                  </a:lnTo>
                  <a:cubicBezTo>
                    <a:pt x="0" y="1695966"/>
                    <a:pt x="33853" y="1761787"/>
                    <a:pt x="94118" y="1810316"/>
                  </a:cubicBezTo>
                  <a:cubicBezTo>
                    <a:pt x="154383" y="1858846"/>
                    <a:pt x="236122" y="1886106"/>
                    <a:pt x="321348" y="1886106"/>
                  </a:cubicBezTo>
                  <a:lnTo>
                    <a:pt x="5762061" y="1886106"/>
                  </a:lnTo>
                  <a:cubicBezTo>
                    <a:pt x="5828613" y="1886106"/>
                    <a:pt x="5890440" y="1869814"/>
                    <a:pt x="5941728" y="1841912"/>
                  </a:cubicBezTo>
                  <a:lnTo>
                    <a:pt x="5962266" y="1828266"/>
                  </a:lnTo>
                  <a:lnTo>
                    <a:pt x="5962266" y="57840"/>
                  </a:lnTo>
                  <a:lnTo>
                    <a:pt x="5941728" y="44195"/>
                  </a:lnTo>
                  <a:cubicBezTo>
                    <a:pt x="5890440" y="16293"/>
                    <a:pt x="5828613" y="0"/>
                    <a:pt x="5762061" y="0"/>
                  </a:cubicBezTo>
                  <a:close/>
                </a:path>
              </a:pathLst>
            </a:custGeom>
          </p:spPr>
        </p:pic>
        <p:sp>
          <p:nvSpPr>
            <p:cNvPr id="18" name="Freeform 3">
              <a:extLst>
                <a:ext uri="{FF2B5EF4-FFF2-40B4-BE49-F238E27FC236}">
                  <a16:creationId xmlns:a16="http://schemas.microsoft.com/office/drawing/2014/main" id="{AA22357A-E14E-64D5-8886-0B6490C66BC1}"/>
                </a:ext>
              </a:extLst>
            </p:cNvPr>
            <p:cNvSpPr/>
            <p:nvPr/>
          </p:nvSpPr>
          <p:spPr>
            <a:xfrm>
              <a:off x="-256782" y="1273158"/>
              <a:ext cx="4489704" cy="1886106"/>
            </a:xfrm>
            <a:custGeom>
              <a:avLst/>
              <a:gdLst/>
              <a:ahLst/>
              <a:cxnLst/>
              <a:rect l="l" t="t" r="r" b="b"/>
              <a:pathLst>
                <a:path w="812800" h="312942">
                  <a:moveTo>
                    <a:pt x="42935" y="0"/>
                  </a:moveTo>
                  <a:lnTo>
                    <a:pt x="769865" y="0"/>
                  </a:lnTo>
                  <a:cubicBezTo>
                    <a:pt x="793577" y="0"/>
                    <a:pt x="812800" y="19223"/>
                    <a:pt x="812800" y="42935"/>
                  </a:cubicBezTo>
                  <a:lnTo>
                    <a:pt x="812800" y="270007"/>
                  </a:lnTo>
                  <a:cubicBezTo>
                    <a:pt x="812800" y="281394"/>
                    <a:pt x="808277" y="292315"/>
                    <a:pt x="800225" y="300367"/>
                  </a:cubicBezTo>
                  <a:cubicBezTo>
                    <a:pt x="792173" y="308419"/>
                    <a:pt x="781252" y="312942"/>
                    <a:pt x="769865" y="312942"/>
                  </a:cubicBezTo>
                  <a:lnTo>
                    <a:pt x="42935" y="312942"/>
                  </a:lnTo>
                  <a:cubicBezTo>
                    <a:pt x="19223" y="312942"/>
                    <a:pt x="0" y="293719"/>
                    <a:pt x="0" y="270007"/>
                  </a:cubicBezTo>
                  <a:lnTo>
                    <a:pt x="0" y="42935"/>
                  </a:lnTo>
                  <a:cubicBezTo>
                    <a:pt x="0" y="19223"/>
                    <a:pt x="19223" y="0"/>
                    <a:pt x="42935" y="0"/>
                  </a:cubicBez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</p:spPr>
          <p:txBody>
            <a:bodyPr/>
            <a:lstStyle/>
            <a:p>
              <a:endParaRPr lang="pl-PL" sz="5400" b="1">
                <a:latin typeface="Fira Sans" panose="020B05030500000200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B125844-1CD6-53F9-2935-A025D367A49F}"/>
                </a:ext>
              </a:extLst>
            </p:cNvPr>
            <p:cNvSpPr txBox="1"/>
            <p:nvPr/>
          </p:nvSpPr>
          <p:spPr>
            <a:xfrm>
              <a:off x="238107" y="1606439"/>
              <a:ext cx="6025272" cy="653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pl-PL" sz="3600" b="1" i="1" dirty="0">
                  <a:solidFill>
                    <a:schemeClr val="bg1"/>
                  </a:solidFill>
                  <a:latin typeface="Fira Sans" panose="020B0503050000020004" pitchFamily="34" charset="0"/>
                </a:rPr>
                <a:t>Powiadomienia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CBFFF84-037F-6766-8C85-785A25F1E3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3471" y="2312632"/>
            <a:ext cx="2259139" cy="4485332"/>
          </a:xfrm>
          <a:prstGeom prst="rect">
            <a:avLst/>
          </a:prstGeom>
        </p:spPr>
      </p:pic>
      <p:grpSp>
        <p:nvGrpSpPr>
          <p:cNvPr id="44" name="Group 16">
            <a:extLst>
              <a:ext uri="{FF2B5EF4-FFF2-40B4-BE49-F238E27FC236}">
                <a16:creationId xmlns:a16="http://schemas.microsoft.com/office/drawing/2014/main" id="{3A221904-E5C8-DA73-4650-A4D151B3A235}"/>
              </a:ext>
            </a:extLst>
          </p:cNvPr>
          <p:cNvGrpSpPr/>
          <p:nvPr/>
        </p:nvGrpSpPr>
        <p:grpSpPr>
          <a:xfrm>
            <a:off x="2164080" y="2577833"/>
            <a:ext cx="487262" cy="511899"/>
            <a:chOff x="0" y="-47625"/>
            <a:chExt cx="751051" cy="390459"/>
          </a:xfrm>
        </p:grpSpPr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EBD28251-874D-73DB-A00D-AEC6F1C152AC}"/>
                </a:ext>
              </a:extLst>
            </p:cNvPr>
            <p:cNvSpPr/>
            <p:nvPr/>
          </p:nvSpPr>
          <p:spPr>
            <a:xfrm>
              <a:off x="0" y="0"/>
              <a:ext cx="751051" cy="342834"/>
            </a:xfrm>
            <a:custGeom>
              <a:avLst/>
              <a:gdLst/>
              <a:ahLst/>
              <a:cxnLst/>
              <a:rect l="l" t="t" r="r" b="b"/>
              <a:pathLst>
                <a:path w="751051" h="342834">
                  <a:moveTo>
                    <a:pt x="59728" y="0"/>
                  </a:moveTo>
                  <a:lnTo>
                    <a:pt x="691323" y="0"/>
                  </a:lnTo>
                  <a:cubicBezTo>
                    <a:pt x="707164" y="0"/>
                    <a:pt x="722356" y="6293"/>
                    <a:pt x="733557" y="17494"/>
                  </a:cubicBezTo>
                  <a:cubicBezTo>
                    <a:pt x="744758" y="28695"/>
                    <a:pt x="751051" y="43887"/>
                    <a:pt x="751051" y="59728"/>
                  </a:cubicBezTo>
                  <a:lnTo>
                    <a:pt x="751051" y="283106"/>
                  </a:lnTo>
                  <a:cubicBezTo>
                    <a:pt x="751051" y="316093"/>
                    <a:pt x="724310" y="342834"/>
                    <a:pt x="691323" y="342834"/>
                  </a:cubicBezTo>
                  <a:lnTo>
                    <a:pt x="59728" y="342834"/>
                  </a:lnTo>
                  <a:cubicBezTo>
                    <a:pt x="43887" y="342834"/>
                    <a:pt x="28695" y="336541"/>
                    <a:pt x="17494" y="325340"/>
                  </a:cubicBezTo>
                  <a:cubicBezTo>
                    <a:pt x="6293" y="314139"/>
                    <a:pt x="0" y="298947"/>
                    <a:pt x="0" y="283106"/>
                  </a:cubicBezTo>
                  <a:lnTo>
                    <a:pt x="0" y="59728"/>
                  </a:lnTo>
                  <a:cubicBezTo>
                    <a:pt x="0" y="26741"/>
                    <a:pt x="26741" y="0"/>
                    <a:pt x="59728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0" cap="rnd">
              <a:solidFill>
                <a:srgbClr val="FBAD2E"/>
              </a:solidFill>
              <a:prstDash val="solid"/>
              <a:round/>
            </a:ln>
          </p:spPr>
          <p:txBody>
            <a:bodyPr/>
            <a:lstStyle/>
            <a:p>
              <a:endParaRPr lang="pl-PL"/>
            </a:p>
          </p:txBody>
        </p:sp>
        <p:sp>
          <p:nvSpPr>
            <p:cNvPr id="47" name="TextBox 18">
              <a:extLst>
                <a:ext uri="{FF2B5EF4-FFF2-40B4-BE49-F238E27FC236}">
                  <a16:creationId xmlns:a16="http://schemas.microsoft.com/office/drawing/2014/main" id="{5C672F3A-93DE-2226-FCDF-4EF7925CEA40}"/>
                </a:ext>
              </a:extLst>
            </p:cNvPr>
            <p:cNvSpPr txBox="1"/>
            <p:nvPr/>
          </p:nvSpPr>
          <p:spPr>
            <a:xfrm>
              <a:off x="0" y="-47625"/>
              <a:ext cx="751051" cy="342834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3359"/>
                </a:lnSpc>
              </a:pPr>
              <a:endParaRPr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02D07B0-8853-DFF7-80B0-4ED07D662359}"/>
              </a:ext>
            </a:extLst>
          </p:cNvPr>
          <p:cNvGrpSpPr/>
          <p:nvPr/>
        </p:nvGrpSpPr>
        <p:grpSpPr>
          <a:xfrm>
            <a:off x="3374482" y="5345082"/>
            <a:ext cx="2858987" cy="523220"/>
            <a:chOff x="3690378" y="3497871"/>
            <a:chExt cx="3699835" cy="584647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5FC00C4-4956-51A4-3D76-3B39D742391E}"/>
                </a:ext>
              </a:extLst>
            </p:cNvPr>
            <p:cNvSpPr txBox="1"/>
            <p:nvPr/>
          </p:nvSpPr>
          <p:spPr>
            <a:xfrm>
              <a:off x="4438717" y="3626100"/>
              <a:ext cx="2951496" cy="36110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pl-PL" sz="1500" b="1" i="1" dirty="0">
                  <a:latin typeface="+mj-lt"/>
                  <a:cs typeface="Arial"/>
                </a:rPr>
                <a:t>Ankieta koordynacji opieki</a:t>
              </a:r>
              <a:endParaRPr lang="pl-PL" sz="1500" i="1" dirty="0">
                <a:latin typeface="+mj-lt"/>
                <a:cs typeface="Arial"/>
              </a:endParaRPr>
            </a:p>
          </p:txBody>
        </p:sp>
        <p:pic>
          <p:nvPicPr>
            <p:cNvPr id="28" name="Graphic 27" descr="Care with solid fill">
              <a:extLst>
                <a:ext uri="{FF2B5EF4-FFF2-40B4-BE49-F238E27FC236}">
                  <a16:creationId xmlns:a16="http://schemas.microsoft.com/office/drawing/2014/main" id="{840C67A0-C31D-6A7C-72CF-61F21F258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690378" y="3497871"/>
              <a:ext cx="584647" cy="584647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09EF9B3-5F25-2AB6-312D-C7EE5E7D0B71}"/>
              </a:ext>
            </a:extLst>
          </p:cNvPr>
          <p:cNvGrpSpPr/>
          <p:nvPr/>
        </p:nvGrpSpPr>
        <p:grpSpPr>
          <a:xfrm>
            <a:off x="3368230" y="3518900"/>
            <a:ext cx="3337371" cy="522137"/>
            <a:chOff x="3690378" y="5494066"/>
            <a:chExt cx="4343523" cy="641348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075DF31-D264-84C5-BD8C-30506BE03D61}"/>
                </a:ext>
              </a:extLst>
            </p:cNvPr>
            <p:cNvSpPr txBox="1"/>
            <p:nvPr/>
          </p:nvSpPr>
          <p:spPr>
            <a:xfrm>
              <a:off x="4381055" y="5650105"/>
              <a:ext cx="3652846" cy="39694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pl-PL" sz="1500" b="1" i="1" dirty="0">
                  <a:latin typeface="+mj-lt"/>
                  <a:cs typeface="Arial"/>
                </a:rPr>
                <a:t>Urodziny / rocznica pracy</a:t>
              </a:r>
              <a:endParaRPr lang="pl-PL" sz="1500" i="1" dirty="0">
                <a:latin typeface="+mj-lt"/>
                <a:cs typeface="Arial"/>
              </a:endParaRPr>
            </a:p>
          </p:txBody>
        </p:sp>
        <p:pic>
          <p:nvPicPr>
            <p:cNvPr id="39" name="Graphic 38" descr="Balloons with solid fill">
              <a:extLst>
                <a:ext uri="{FF2B5EF4-FFF2-40B4-BE49-F238E27FC236}">
                  <a16:creationId xmlns:a16="http://schemas.microsoft.com/office/drawing/2014/main" id="{D2E23E65-13A5-10CE-E910-1EEF5DB8C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690378" y="5494066"/>
              <a:ext cx="641348" cy="641348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75FB1CD-C6AF-8E92-F554-C18AD5A4F790}"/>
              </a:ext>
            </a:extLst>
          </p:cNvPr>
          <p:cNvGrpSpPr/>
          <p:nvPr/>
        </p:nvGrpSpPr>
        <p:grpSpPr>
          <a:xfrm>
            <a:off x="3383489" y="3020078"/>
            <a:ext cx="2849980" cy="553995"/>
            <a:chOff x="3673934" y="6276908"/>
            <a:chExt cx="4009899" cy="653191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E0DEB63-C9CD-F6CC-9387-9CCCB7D4CCD3}"/>
                </a:ext>
              </a:extLst>
            </p:cNvPr>
            <p:cNvSpPr txBox="1"/>
            <p:nvPr/>
          </p:nvSpPr>
          <p:spPr>
            <a:xfrm>
              <a:off x="4384244" y="6276908"/>
              <a:ext cx="3299589" cy="65319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pl-PL" sz="1500" b="1" i="1" dirty="0">
                  <a:latin typeface="+mj-lt"/>
                  <a:cs typeface="Arial"/>
                </a:rPr>
                <a:t>Przypomnienia o konieczności odbicia karty</a:t>
              </a:r>
              <a:endParaRPr lang="pl-PL" sz="1500" i="1" dirty="0">
                <a:latin typeface="+mj-lt"/>
                <a:cs typeface="Arial"/>
              </a:endParaRPr>
            </a:p>
          </p:txBody>
        </p:sp>
        <p:pic>
          <p:nvPicPr>
            <p:cNvPr id="48" name="Graphic 47" descr="Alarm Ringing with solid fill">
              <a:extLst>
                <a:ext uri="{FF2B5EF4-FFF2-40B4-BE49-F238E27FC236}">
                  <a16:creationId xmlns:a16="http://schemas.microsoft.com/office/drawing/2014/main" id="{217826D6-69A0-64BC-EB2A-457FB6B72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673934" y="6301581"/>
              <a:ext cx="592228" cy="592228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E8AC5D3-B308-D299-6C89-6D7A3AAF72C1}"/>
              </a:ext>
            </a:extLst>
          </p:cNvPr>
          <p:cNvGrpSpPr/>
          <p:nvPr/>
        </p:nvGrpSpPr>
        <p:grpSpPr>
          <a:xfrm>
            <a:off x="3368230" y="4683610"/>
            <a:ext cx="2832211" cy="623252"/>
            <a:chOff x="3668435" y="4094180"/>
            <a:chExt cx="3650910" cy="613238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697867E-2D5F-7BA2-09EA-89806999999F}"/>
                </a:ext>
              </a:extLst>
            </p:cNvPr>
            <p:cNvSpPr txBox="1"/>
            <p:nvPr/>
          </p:nvSpPr>
          <p:spPr>
            <a:xfrm>
              <a:off x="4407163" y="4253918"/>
              <a:ext cx="2912182" cy="31797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pl-PL" sz="1500" b="1" i="1" dirty="0">
                  <a:latin typeface="+mj-lt"/>
                  <a:cs typeface="Arial"/>
                </a:rPr>
                <a:t>Dostępny odcinek wypłaty</a:t>
              </a:r>
              <a:endParaRPr lang="pl-PL" sz="1500" i="1" dirty="0">
                <a:latin typeface="+mj-lt"/>
                <a:cs typeface="Arial"/>
              </a:endParaRPr>
            </a:p>
          </p:txBody>
        </p:sp>
        <p:pic>
          <p:nvPicPr>
            <p:cNvPr id="50" name="Graphic 49" descr="Bank with solid fill">
              <a:extLst>
                <a:ext uri="{FF2B5EF4-FFF2-40B4-BE49-F238E27FC236}">
                  <a16:creationId xmlns:a16="http://schemas.microsoft.com/office/drawing/2014/main" id="{B16A9DA8-5031-A196-2F90-922A277AE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668435" y="4094180"/>
              <a:ext cx="613238" cy="613238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6F43EA4-4B39-D179-5366-86AB0E27CD3D}"/>
              </a:ext>
            </a:extLst>
          </p:cNvPr>
          <p:cNvGrpSpPr/>
          <p:nvPr/>
        </p:nvGrpSpPr>
        <p:grpSpPr>
          <a:xfrm>
            <a:off x="3368230" y="4133206"/>
            <a:ext cx="2885814" cy="515409"/>
            <a:chOff x="3705646" y="4806353"/>
            <a:chExt cx="3604938" cy="573843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60C6B927-63BF-1DE2-49BA-8DFC0929D772}"/>
                </a:ext>
              </a:extLst>
            </p:cNvPr>
            <p:cNvSpPr txBox="1"/>
            <p:nvPr/>
          </p:nvSpPr>
          <p:spPr>
            <a:xfrm>
              <a:off x="4381056" y="4937746"/>
              <a:ext cx="2929528" cy="35980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>
                <a:spcAft>
                  <a:spcPts val="1200"/>
                </a:spcAft>
              </a:pPr>
              <a:r>
                <a:rPr lang="pl-PL" sz="1500" b="1" i="1" dirty="0">
                  <a:latin typeface="+mj-lt"/>
                  <a:cs typeface="Arial"/>
                </a:rPr>
                <a:t>Dostępny formularz W-2</a:t>
              </a:r>
              <a:endParaRPr lang="pl-PL" sz="1500" i="1" dirty="0">
                <a:latin typeface="+mj-lt"/>
                <a:cs typeface="Arial"/>
              </a:endParaRPr>
            </a:p>
          </p:txBody>
        </p:sp>
        <p:pic>
          <p:nvPicPr>
            <p:cNvPr id="55" name="Graphic 54" descr="Open envelope with solid fill">
              <a:extLst>
                <a:ext uri="{FF2B5EF4-FFF2-40B4-BE49-F238E27FC236}">
                  <a16:creationId xmlns:a16="http://schemas.microsoft.com/office/drawing/2014/main" id="{1CBF2516-C2E6-9CB4-700F-261665576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705646" y="4806353"/>
              <a:ext cx="573843" cy="573843"/>
            </a:xfrm>
            <a:prstGeom prst="rect">
              <a:avLst/>
            </a:prstGeom>
          </p:spPr>
        </p:pic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63B50D3E-7417-1117-B436-A84D0F55AC18}"/>
              </a:ext>
            </a:extLst>
          </p:cNvPr>
          <p:cNvSpPr txBox="1"/>
          <p:nvPr/>
        </p:nvSpPr>
        <p:spPr>
          <a:xfrm>
            <a:off x="3185160" y="2216675"/>
            <a:ext cx="365302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l-PL" sz="1300" b="1" i="1" dirty="0"/>
              <a:t>Poniżej znajduje się lista powiadomień aplikacji i powiadomień push, które będziesz otrzymywać w Caregiver Connect:</a:t>
            </a:r>
          </a:p>
        </p:txBody>
      </p:sp>
    </p:spTree>
    <p:extLst>
      <p:ext uri="{BB962C8B-B14F-4D97-AF65-F5344CB8AC3E}">
        <p14:creationId xmlns:p14="http://schemas.microsoft.com/office/powerpoint/2010/main" val="517924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6226484-67C6-9153-95D0-35286FFD3E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559" y="1456032"/>
            <a:ext cx="1642229" cy="334467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pl-PL" sz="1800" b="1" i="1" dirty="0">
                <a:solidFill>
                  <a:schemeClr val="bg1"/>
                </a:solidFill>
                <a:latin typeface="Fira Sans"/>
                <a:ea typeface="Calibri" panose="020F0502020204030204" pitchFamily="34" charset="0"/>
                <a:cs typeface="Calibri"/>
              </a:rPr>
              <a:t>Konfiguracja profilu</a:t>
            </a:r>
            <a:endParaRPr kumimoji="0" lang="pl-PL" sz="18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/>
              <a:ea typeface="Calibri" panose="020F0502020204030204" pitchFamily="34" charset="0"/>
              <a:cs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4AE9C6E-F4DB-C692-0A79-EA54A7CE135E}"/>
              </a:ext>
            </a:extLst>
          </p:cNvPr>
          <p:cNvGrpSpPr/>
          <p:nvPr/>
        </p:nvGrpSpPr>
        <p:grpSpPr>
          <a:xfrm>
            <a:off x="1876788" y="1258557"/>
            <a:ext cx="2901224" cy="919114"/>
            <a:chOff x="2718280" y="1406337"/>
            <a:chExt cx="2901224" cy="91911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E05BB6D-2617-5D19-17B2-366FABAAD5B3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r>
                <a:rPr lang="pl-PL" sz="1300" b="1" dirty="0">
                  <a:latin typeface="Fira Sans" panose="020B0503050000020004" pitchFamily="34" charset="0"/>
                </a:rPr>
                <a:t>Zobacz profil</a:t>
              </a:r>
              <a:endParaRPr lang="pl-PL" sz="1300" dirty="0">
                <a:latin typeface="Fira Sans" panose="020B0503050000020004" pitchFamily="34" charset="0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12B19A1A-C30C-3F67-CE8C-EFC28817DBF5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05696296-ED2E-770A-F47E-B47911BDDCC0}"/>
              </a:ext>
            </a:extLst>
          </p:cNvPr>
          <p:cNvSpPr/>
          <p:nvPr/>
        </p:nvSpPr>
        <p:spPr bwMode="auto">
          <a:xfrm>
            <a:off x="1014005" y="3034774"/>
            <a:ext cx="693734" cy="18745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8E73684-2722-3ECD-8685-FE4BCE8AD1BB}"/>
              </a:ext>
            </a:extLst>
          </p:cNvPr>
          <p:cNvGrpSpPr/>
          <p:nvPr/>
        </p:nvGrpSpPr>
        <p:grpSpPr>
          <a:xfrm>
            <a:off x="3382685" y="2856469"/>
            <a:ext cx="2568536" cy="1089226"/>
            <a:chOff x="4022119" y="2487117"/>
            <a:chExt cx="2568536" cy="1089226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812C36D-9263-EA41-4523-C3C445A68FE9}"/>
                </a:ext>
              </a:extLst>
            </p:cNvPr>
            <p:cNvSpPr txBox="1"/>
            <p:nvPr/>
          </p:nvSpPr>
          <p:spPr>
            <a:xfrm>
              <a:off x="4241815" y="2665422"/>
              <a:ext cx="2348840" cy="91092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Przejdź do sekcji Moje preferencje, wybierz </a:t>
              </a:r>
              <a:r>
                <a:rPr lang="pl-PL" sz="1300" b="1" dirty="0">
                  <a:latin typeface="Fira Sans" panose="020B0503050000020004" pitchFamily="34" charset="0"/>
                </a:rPr>
                <a:t>Preferencje zmiany </a:t>
              </a:r>
              <a:br>
                <a:rPr lang="en-US" sz="1300" b="1" dirty="0">
                  <a:latin typeface="Fira Sans" panose="020B0503050000020004" pitchFamily="34" charset="0"/>
                </a:rPr>
              </a:br>
              <a:r>
                <a:rPr lang="pl-PL" sz="1300" dirty="0">
                  <a:latin typeface="Fira Sans" panose="020B0503050000020004" pitchFamily="34" charset="0"/>
                </a:rPr>
                <a:t>i</a:t>
              </a:r>
              <a:r>
                <a:rPr lang="pl-PL" sz="1300" b="1" dirty="0">
                  <a:latin typeface="Fira Sans" panose="020B0503050000020004" pitchFamily="34" charset="0"/>
                </a:rPr>
                <a:t> Preferencje osobiste</a:t>
              </a:r>
            </a:p>
          </p:txBody>
        </p: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6DE976D7-D49A-244B-380A-CD46DD0ED078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8440556-66F5-CF4A-9E1C-8E3B1FD72DB4}"/>
              </a:ext>
            </a:extLst>
          </p:cNvPr>
          <p:cNvGrpSpPr/>
          <p:nvPr/>
        </p:nvGrpSpPr>
        <p:grpSpPr>
          <a:xfrm>
            <a:off x="1958495" y="8107063"/>
            <a:ext cx="2897774" cy="1205002"/>
            <a:chOff x="1486048" y="8149645"/>
            <a:chExt cx="2466321" cy="81313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5E9AA3D-A450-CBDD-620B-A41143EDCC9B}"/>
                </a:ext>
              </a:extLst>
            </p:cNvPr>
            <p:cNvSpPr txBox="1"/>
            <p:nvPr/>
          </p:nvSpPr>
          <p:spPr>
            <a:xfrm>
              <a:off x="1486048" y="8224119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b="1" dirty="0">
                  <a:latin typeface="Fira Sans" panose="020B0503050000020004" pitchFamily="34" charset="0"/>
                </a:rPr>
                <a:t>Preferencje osobiste </a:t>
              </a:r>
              <a:r>
                <a:rPr lang="pl-PL" sz="1300" dirty="0">
                  <a:latin typeface="Fira Sans" panose="020B0503050000020004" pitchFamily="34" charset="0"/>
                </a:rPr>
                <a:t>obejmują zwierzęta domowe, palenie, </a:t>
              </a:r>
              <a:br>
                <a:rPr lang="en-US" sz="1300" dirty="0">
                  <a:latin typeface="Fira Sans" panose="020B0503050000020004" pitchFamily="34" charset="0"/>
                </a:rPr>
              </a:br>
              <a:r>
                <a:rPr lang="pl-PL" sz="1300" dirty="0">
                  <a:latin typeface="Fira Sans" panose="020B0503050000020004" pitchFamily="34" charset="0"/>
                </a:rPr>
                <a:t>języki, którymi się posługujesz i czynności, które lubisz </a:t>
              </a:r>
              <a:br>
                <a:rPr lang="en-US" sz="1300" dirty="0">
                  <a:latin typeface="Fira Sans" panose="020B0503050000020004" pitchFamily="34" charset="0"/>
                </a:rPr>
              </a:br>
              <a:r>
                <a:rPr lang="pl-PL" sz="1300" dirty="0">
                  <a:latin typeface="Fira Sans" panose="020B0503050000020004" pitchFamily="34" charset="0"/>
                </a:rPr>
                <a:t>wykonywać z klientami</a:t>
              </a:r>
              <a:endParaRPr lang="pl-PL" sz="1300" b="1" dirty="0">
                <a:latin typeface="Fira Sans" panose="020B0503050000020004" pitchFamily="34" charset="0"/>
              </a:endParaRPr>
            </a:p>
          </p:txBody>
        </p: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1FE2C972-D9DA-9F66-A4A3-A82D0CCFC975}"/>
                </a:ext>
              </a:extLst>
            </p:cNvPr>
            <p:cNvSpPr/>
            <p:nvPr/>
          </p:nvSpPr>
          <p:spPr bwMode="auto">
            <a:xfrm>
              <a:off x="3658542" y="8149645"/>
              <a:ext cx="293827" cy="24499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pl-PL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AA0ADF7-E640-DBCC-BA90-09B3A664331F}"/>
              </a:ext>
            </a:extLst>
          </p:cNvPr>
          <p:cNvGrpSpPr/>
          <p:nvPr/>
        </p:nvGrpSpPr>
        <p:grpSpPr>
          <a:xfrm>
            <a:off x="46315" y="6407905"/>
            <a:ext cx="3081068" cy="1440695"/>
            <a:chOff x="840827" y="7708677"/>
            <a:chExt cx="3081068" cy="1440695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A1985BE-8B51-5A71-A9E8-17B6C8AC0573}"/>
                </a:ext>
              </a:extLst>
            </p:cNvPr>
            <p:cNvSpPr txBox="1"/>
            <p:nvPr/>
          </p:nvSpPr>
          <p:spPr>
            <a:xfrm>
              <a:off x="840827" y="7912833"/>
              <a:ext cx="3061971" cy="123653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b="1" dirty="0">
                  <a:latin typeface="Fira Sans" panose="020B0503050000020004" pitchFamily="34" charset="0"/>
                </a:rPr>
                <a:t>Preferencje zmiany </a:t>
              </a:r>
              <a:r>
                <a:rPr lang="pl-PL" sz="1300" dirty="0">
                  <a:latin typeface="Fira Sans" panose="020B0503050000020004" pitchFamily="34" charset="0"/>
                </a:rPr>
                <a:t>to </a:t>
              </a:r>
              <a:r>
                <a:rPr lang="pl-PL" sz="1300" b="1" dirty="0">
                  <a:latin typeface="Fira Sans" panose="020B0503050000020004" pitchFamily="34" charset="0"/>
                </a:rPr>
                <a:t>dni, przedziały czasowe </a:t>
              </a:r>
              <a:r>
                <a:rPr lang="pl-PL" sz="1300" dirty="0">
                  <a:latin typeface="Fira Sans" panose="020B0503050000020004" pitchFamily="34" charset="0"/>
                </a:rPr>
                <a:t>i</a:t>
              </a:r>
              <a:r>
                <a:rPr lang="pl-PL" sz="1300" b="1" dirty="0">
                  <a:latin typeface="Fira Sans" panose="020B0503050000020004" pitchFamily="34" charset="0"/>
                </a:rPr>
                <a:t> maksymalna liczba godzin</a:t>
              </a:r>
              <a:r>
                <a:rPr lang="pl-PL" sz="1300" dirty="0">
                  <a:latin typeface="Fira Sans" panose="020B0503050000020004" pitchFamily="34" charset="0"/>
                </a:rPr>
                <a:t>, przez jaką możesz pracować, a także liczba </a:t>
              </a:r>
              <a:r>
                <a:rPr lang="pl-PL" sz="1300" b="1" dirty="0">
                  <a:latin typeface="Fira Sans" panose="020B0503050000020004" pitchFamily="34" charset="0"/>
                </a:rPr>
                <a:t>mil</a:t>
              </a:r>
              <a:r>
                <a:rPr lang="pl-PL" sz="1300" dirty="0">
                  <a:latin typeface="Fira Sans" panose="020B0503050000020004" pitchFamily="34" charset="0"/>
                </a:rPr>
                <a:t>, jaką możesz pokonać,aby dotrzeć do klienta</a:t>
              </a: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A800222C-DEC0-F814-755B-12CA3DB8FF07}"/>
                </a:ext>
              </a:extLst>
            </p:cNvPr>
            <p:cNvSpPr/>
            <p:nvPr/>
          </p:nvSpPr>
          <p:spPr bwMode="auto">
            <a:xfrm>
              <a:off x="3556135" y="770867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11" name="Freeform 19">
            <a:extLst>
              <a:ext uri="{FF2B5EF4-FFF2-40B4-BE49-F238E27FC236}">
                <a16:creationId xmlns:a16="http://schemas.microsoft.com/office/drawing/2014/main" id="{FEFFC8C7-9836-274D-A1AB-791A0BB71E8D}"/>
              </a:ext>
            </a:extLst>
          </p:cNvPr>
          <p:cNvSpPr/>
          <p:nvPr/>
        </p:nvSpPr>
        <p:spPr>
          <a:xfrm>
            <a:off x="1741446" y="2344737"/>
            <a:ext cx="1611818" cy="3611866"/>
          </a:xfrm>
          <a:custGeom>
            <a:avLst/>
            <a:gdLst/>
            <a:ahLst/>
            <a:cxnLst/>
            <a:rect l="l" t="t" r="r" b="b"/>
            <a:pathLst>
              <a:path w="3201348" h="6597703">
                <a:moveTo>
                  <a:pt x="0" y="0"/>
                </a:moveTo>
                <a:lnTo>
                  <a:pt x="3201348" y="0"/>
                </a:lnTo>
                <a:lnTo>
                  <a:pt x="3201348" y="6597703"/>
                </a:lnTo>
                <a:lnTo>
                  <a:pt x="0" y="6597703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E75582A-58D4-48C4-1A41-3D9A1A7C91F4}"/>
              </a:ext>
            </a:extLst>
          </p:cNvPr>
          <p:cNvSpPr/>
          <p:nvPr/>
        </p:nvSpPr>
        <p:spPr bwMode="auto">
          <a:xfrm>
            <a:off x="1741446" y="4821612"/>
            <a:ext cx="905093" cy="29231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B215C86-D381-EFE5-E5E8-C622F51D8CDD}"/>
              </a:ext>
            </a:extLst>
          </p:cNvPr>
          <p:cNvSpPr/>
          <p:nvPr/>
        </p:nvSpPr>
        <p:spPr bwMode="auto">
          <a:xfrm>
            <a:off x="1769997" y="5096790"/>
            <a:ext cx="905093" cy="29231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9077E7-B992-F2E7-D4CC-758164662D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7268" y="4124000"/>
            <a:ext cx="1720964" cy="3432447"/>
          </a:xfrm>
          <a:prstGeom prst="roundRect">
            <a:avLst/>
          </a:prstGeom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1DB042BB-1AF2-6D62-EEBF-0F56B1E1D9DC}"/>
              </a:ext>
            </a:extLst>
          </p:cNvPr>
          <p:cNvSpPr/>
          <p:nvPr/>
        </p:nvSpPr>
        <p:spPr bwMode="auto">
          <a:xfrm>
            <a:off x="3248708" y="5019603"/>
            <a:ext cx="1624574" cy="59191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9B5AE678-2324-DBB8-95C6-A2089A62883A}"/>
              </a:ext>
            </a:extLst>
          </p:cNvPr>
          <p:cNvSpPr/>
          <p:nvPr/>
        </p:nvSpPr>
        <p:spPr bwMode="auto">
          <a:xfrm>
            <a:off x="4222923" y="5534356"/>
            <a:ext cx="705309" cy="961104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8D6B2E0-CA4D-8E71-A7B6-9418AF5B4681}"/>
              </a:ext>
            </a:extLst>
          </p:cNvPr>
          <p:cNvSpPr/>
          <p:nvPr/>
        </p:nvSpPr>
        <p:spPr bwMode="auto">
          <a:xfrm>
            <a:off x="3231695" y="7080324"/>
            <a:ext cx="1624574" cy="36576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33EBD3-1138-76C1-0FD7-067B0A243B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9506" y="6004765"/>
            <a:ext cx="1744539" cy="342307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26244613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E9D1FA-7057-23D2-818F-5525A3E757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D8C7A13-3F1D-D4AE-4711-2AF62B6DEDD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6799A30-DF6D-4A47-1363-30FB41CF7004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pl-PL" sz="175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Aktualizacja preferowanego </a:t>
            </a:r>
            <a:r>
              <a:rPr lang="pl-PL" sz="1750" b="1" i="1" dirty="0">
                <a:solidFill>
                  <a:schemeClr val="bg1"/>
                </a:solidFill>
                <a:latin typeface="Fira Sans"/>
                <a:ea typeface="Calibri" panose="020F0502020204030204" pitchFamily="34" charset="0"/>
                <a:cs typeface="Calibri"/>
              </a:rPr>
              <a:t>imienia i nazwiska</a:t>
            </a:r>
            <a:endParaRPr kumimoji="0" lang="pl-PL" sz="175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/>
              <a:ea typeface="Calibri" panose="020F0502020204030204" pitchFamily="34" charset="0"/>
              <a:cs typeface="Calibri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1879C8B-DB62-CF06-9DE6-79845F318B09}"/>
              </a:ext>
            </a:extLst>
          </p:cNvPr>
          <p:cNvGrpSpPr/>
          <p:nvPr/>
        </p:nvGrpSpPr>
        <p:grpSpPr>
          <a:xfrm>
            <a:off x="1876788" y="1258557"/>
            <a:ext cx="2901224" cy="919114"/>
            <a:chOff x="2718280" y="1406337"/>
            <a:chExt cx="2901224" cy="91911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BB99620-28B1-8235-3284-98BF01FFA625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r>
                <a:rPr lang="pl-PL" sz="1300" b="1" dirty="0">
                  <a:latin typeface="Fira Sans" panose="020B0503050000020004" pitchFamily="34" charset="0"/>
                </a:rPr>
                <a:t>Zobacz profil</a:t>
              </a:r>
              <a:endParaRPr lang="pl-PL" sz="1300" dirty="0">
                <a:latin typeface="Fira Sans" panose="020B0503050000020004" pitchFamily="34" charset="0"/>
              </a:endParaRPr>
            </a:p>
          </p:txBody>
        </p:sp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54024E83-D961-FD52-64FE-94A072C7FDBB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11D845E-FC2D-CB90-0408-0DBB88B44237}"/>
              </a:ext>
            </a:extLst>
          </p:cNvPr>
          <p:cNvGrpSpPr/>
          <p:nvPr/>
        </p:nvGrpSpPr>
        <p:grpSpPr>
          <a:xfrm>
            <a:off x="3327400" y="2566726"/>
            <a:ext cx="2528704" cy="916968"/>
            <a:chOff x="4022119" y="2487117"/>
            <a:chExt cx="2528704" cy="91696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AEF8118-30E6-B71A-0831-10097BE84103}"/>
                </a:ext>
              </a:extLst>
            </p:cNvPr>
            <p:cNvSpPr txBox="1"/>
            <p:nvPr/>
          </p:nvSpPr>
          <p:spPr>
            <a:xfrm>
              <a:off x="4241815" y="2665422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</a:t>
              </a:r>
              <a:r>
                <a:rPr lang="pl-PL" sz="1300" b="1" dirty="0">
                  <a:latin typeface="Fira Sans" panose="020B0503050000020004" pitchFamily="34" charset="0"/>
                </a:rPr>
                <a:t> Wyświetl moje dane</a:t>
              </a:r>
            </a:p>
          </p:txBody>
        </p: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3539832D-96D6-F03F-676F-2AAA6B6D562A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59A7F0F-171A-3FB1-DE7C-B224FF4CE3AB}"/>
              </a:ext>
            </a:extLst>
          </p:cNvPr>
          <p:cNvGrpSpPr/>
          <p:nvPr/>
        </p:nvGrpSpPr>
        <p:grpSpPr>
          <a:xfrm>
            <a:off x="1507176" y="8301510"/>
            <a:ext cx="2978755" cy="1010721"/>
            <a:chOff x="587384" y="7952222"/>
            <a:chExt cx="2978755" cy="1010721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05EDF95-1194-84F9-3DCE-34AA095F1445}"/>
                </a:ext>
              </a:extLst>
            </p:cNvPr>
            <p:cNvSpPr txBox="1"/>
            <p:nvPr/>
          </p:nvSpPr>
          <p:spPr>
            <a:xfrm>
              <a:off x="587384" y="8224280"/>
              <a:ext cx="2795875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omunikat Oczekiwanie na aktualizację będzie wyświetlać się do chwili zatwierdzenia zmian </a:t>
              </a:r>
            </a:p>
          </p:txBody>
        </p:sp>
        <p:sp>
          <p:nvSpPr>
            <p:cNvPr id="32" name="Flowchart: Connector 31">
              <a:extLst>
                <a:ext uri="{FF2B5EF4-FFF2-40B4-BE49-F238E27FC236}">
                  <a16:creationId xmlns:a16="http://schemas.microsoft.com/office/drawing/2014/main" id="{1AF338BA-1245-CD12-0382-9B51D79E168C}"/>
                </a:ext>
              </a:extLst>
            </p:cNvPr>
            <p:cNvSpPr/>
            <p:nvPr/>
          </p:nvSpPr>
          <p:spPr bwMode="auto">
            <a:xfrm>
              <a:off x="3200379" y="795222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DFB1F58-8ED5-A2EF-691F-5A67D8C6947E}"/>
              </a:ext>
            </a:extLst>
          </p:cNvPr>
          <p:cNvGrpSpPr/>
          <p:nvPr/>
        </p:nvGrpSpPr>
        <p:grpSpPr>
          <a:xfrm>
            <a:off x="135685" y="6551223"/>
            <a:ext cx="2928909" cy="1124402"/>
            <a:chOff x="708786" y="8000112"/>
            <a:chExt cx="3207667" cy="1124402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695F65E-D65B-652F-8725-1E3E981A0C81}"/>
                </a:ext>
              </a:extLst>
            </p:cNvPr>
            <p:cNvSpPr txBox="1"/>
            <p:nvPr/>
          </p:nvSpPr>
          <p:spPr>
            <a:xfrm>
              <a:off x="708786" y="8197920"/>
              <a:ext cx="3061971" cy="92659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Wybierz </a:t>
              </a:r>
              <a:r>
                <a:rPr lang="pl-PL" sz="1300" b="1" dirty="0">
                  <a:latin typeface="Fira Sans" panose="020B0503050000020004" pitchFamily="34" charset="0"/>
                </a:rPr>
                <a:t>Preferowane imię </a:t>
              </a:r>
              <a:r>
                <a:rPr lang="pl-PL" sz="1300" dirty="0">
                  <a:latin typeface="Fira Sans" panose="020B0503050000020004" pitchFamily="34" charset="0"/>
                </a:rPr>
                <a:t>i </a:t>
              </a:r>
              <a:r>
                <a:rPr lang="pl-PL" sz="1300" b="1" dirty="0">
                  <a:latin typeface="Fira Sans" panose="020B0503050000020004" pitchFamily="34" charset="0"/>
                </a:rPr>
                <a:t>nazwisko</a:t>
              </a:r>
              <a:r>
                <a:rPr lang="pl-PL" sz="1300" dirty="0">
                  <a:latin typeface="Fira Sans" panose="020B0503050000020004" pitchFamily="34" charset="0"/>
                </a:rPr>
                <a:t>, aby zmienić aktualnie preferowane imię i nazwisko</a:t>
              </a:r>
            </a:p>
          </p:txBody>
        </p:sp>
        <p:sp>
          <p:nvSpPr>
            <p:cNvPr id="38" name="Flowchart: Connector 37">
              <a:extLst>
                <a:ext uri="{FF2B5EF4-FFF2-40B4-BE49-F238E27FC236}">
                  <a16:creationId xmlns:a16="http://schemas.microsoft.com/office/drawing/2014/main" id="{6CF7BB74-4E91-3BC3-4B5A-ADF66CC702BF}"/>
                </a:ext>
              </a:extLst>
            </p:cNvPr>
            <p:cNvSpPr/>
            <p:nvPr/>
          </p:nvSpPr>
          <p:spPr bwMode="auto">
            <a:xfrm>
              <a:off x="3550693" y="8000112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pl-PL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4439001C-69FF-1386-FF9B-A2550FDC42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465" y="1035579"/>
            <a:ext cx="1596323" cy="3251178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65C3D367-11C5-B264-41AA-6137549D988E}"/>
              </a:ext>
            </a:extLst>
          </p:cNvPr>
          <p:cNvSpPr/>
          <p:nvPr/>
        </p:nvSpPr>
        <p:spPr bwMode="auto">
          <a:xfrm>
            <a:off x="969966" y="2520692"/>
            <a:ext cx="693734" cy="187455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E1028E4-24DA-955D-0371-1921032FDD6D}"/>
              </a:ext>
            </a:extLst>
          </p:cNvPr>
          <p:cNvGrpSpPr/>
          <p:nvPr/>
        </p:nvGrpSpPr>
        <p:grpSpPr>
          <a:xfrm>
            <a:off x="1756194" y="2269413"/>
            <a:ext cx="1531709" cy="3383867"/>
            <a:chOff x="0" y="0"/>
            <a:chExt cx="3201348" cy="6597703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8D5D230B-CC0C-F4EB-52FC-3B696E7D20D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/>
              <a:stretch>
                <a:fillRect/>
              </a:stretch>
            </a:blipFill>
          </p:spPr>
          <p:txBody>
            <a:bodyPr/>
            <a:lstStyle/>
            <a:p>
              <a:endParaRPr lang="pl-PL"/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656E8876-2325-B7D2-5A48-CBCD3A580F70}"/>
              </a:ext>
            </a:extLst>
          </p:cNvPr>
          <p:cNvSpPr/>
          <p:nvPr/>
        </p:nvSpPr>
        <p:spPr bwMode="auto">
          <a:xfrm>
            <a:off x="1840222" y="4074326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14">
            <a:extLst>
              <a:ext uri="{FF2B5EF4-FFF2-40B4-BE49-F238E27FC236}">
                <a16:creationId xmlns:a16="http://schemas.microsoft.com/office/drawing/2014/main" id="{3B325D44-CB37-3F12-5E4D-187416B4D807}"/>
              </a:ext>
            </a:extLst>
          </p:cNvPr>
          <p:cNvGrpSpPr/>
          <p:nvPr/>
        </p:nvGrpSpPr>
        <p:grpSpPr>
          <a:xfrm>
            <a:off x="3161356" y="3661999"/>
            <a:ext cx="1611559" cy="3383867"/>
            <a:chOff x="0" y="0"/>
            <a:chExt cx="3201348" cy="6597703"/>
          </a:xfrm>
        </p:grpSpPr>
        <p:sp>
          <p:nvSpPr>
            <p:cNvPr id="6" name="Freeform 15">
              <a:extLst>
                <a:ext uri="{FF2B5EF4-FFF2-40B4-BE49-F238E27FC236}">
                  <a16:creationId xmlns:a16="http://schemas.microsoft.com/office/drawing/2014/main" id="{1E117660-3E88-7286-49CC-77ADD3746B62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</p:spPr>
          <p:txBody>
            <a:bodyPr/>
            <a:lstStyle/>
            <a:p>
              <a:endParaRPr lang="pl-PL"/>
            </a:p>
          </p:txBody>
        </p: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F5E2CB7B-4EBE-40B5-583B-43EC022767E6}"/>
              </a:ext>
            </a:extLst>
          </p:cNvPr>
          <p:cNvSpPr/>
          <p:nvPr/>
        </p:nvSpPr>
        <p:spPr bwMode="auto">
          <a:xfrm>
            <a:off x="3248894" y="4563359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169A6FDE-770C-0298-BB65-64AC90E46F57}"/>
              </a:ext>
            </a:extLst>
          </p:cNvPr>
          <p:cNvSpPr/>
          <p:nvPr/>
        </p:nvSpPr>
        <p:spPr bwMode="auto">
          <a:xfrm>
            <a:off x="3248894" y="4867579"/>
            <a:ext cx="1363654" cy="263470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Group 12">
            <a:extLst>
              <a:ext uri="{FF2B5EF4-FFF2-40B4-BE49-F238E27FC236}">
                <a16:creationId xmlns:a16="http://schemas.microsoft.com/office/drawing/2014/main" id="{A2ED396C-F599-ED55-0AB7-826D9F8DF98B}"/>
              </a:ext>
            </a:extLst>
          </p:cNvPr>
          <p:cNvGrpSpPr/>
          <p:nvPr/>
        </p:nvGrpSpPr>
        <p:grpSpPr>
          <a:xfrm>
            <a:off x="4532847" y="5559032"/>
            <a:ext cx="1624574" cy="3383867"/>
            <a:chOff x="0" y="0"/>
            <a:chExt cx="3201348" cy="6597703"/>
          </a:xfrm>
        </p:grpSpPr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E7C0B735-7163-E6ED-FD47-D78E08422081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pl-PL"/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id="{C7BA5A56-1C5A-70F2-B943-33CF519BB1DF}"/>
              </a:ext>
            </a:extLst>
          </p:cNvPr>
          <p:cNvSpPr/>
          <p:nvPr/>
        </p:nvSpPr>
        <p:spPr bwMode="auto">
          <a:xfrm>
            <a:off x="4532847" y="6872663"/>
            <a:ext cx="1527812" cy="284729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803469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B880F51-A6A5-7244-575D-BF3175E32711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06052F7-FFCF-3D54-7058-F7602DCC0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5B311F5-E604-16F1-6AC1-275B0747E7D6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pl-PL" sz="175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Wyświetlanie </a:t>
            </a:r>
            <a:r>
              <a:rPr lang="pl-PL" sz="1750" b="1" i="1" dirty="0">
                <a:solidFill>
                  <a:schemeClr val="bg1"/>
                </a:solidFill>
                <a:latin typeface="Fira Sans"/>
                <a:ea typeface="Calibri" panose="020F0502020204030204" pitchFamily="34" charset="0"/>
                <a:cs typeface="Calibri"/>
              </a:rPr>
              <a:t>odcinków wypłat</a:t>
            </a:r>
            <a:endParaRPr kumimoji="0" lang="pl-PL" sz="175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8B3FC70-9F3D-0C82-FCFE-4D88538B22C8}"/>
              </a:ext>
            </a:extLst>
          </p:cNvPr>
          <p:cNvGrpSpPr/>
          <p:nvPr/>
        </p:nvGrpSpPr>
        <p:grpSpPr>
          <a:xfrm>
            <a:off x="2528502" y="1008577"/>
            <a:ext cx="2901224" cy="919114"/>
            <a:chOff x="2718280" y="1406337"/>
            <a:chExt cx="2901224" cy="91911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A8D113B-ACBF-2B42-C84D-5A07619850F0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r>
                <a:rPr lang="pl-PL" sz="1300" b="1" dirty="0">
                  <a:latin typeface="Fira Sans" panose="020B0503050000020004" pitchFamily="34" charset="0"/>
                </a:rPr>
                <a:t>Zobacz odcinki wypłat </a:t>
              </a:r>
              <a:r>
                <a:rPr lang="pl-PL" sz="1300" dirty="0">
                  <a:latin typeface="Fira Sans" panose="020B0503050000020004" pitchFamily="34" charset="0"/>
                </a:rPr>
                <a:t>, </a:t>
              </a:r>
              <a:br>
                <a:rPr lang="en-US" sz="1300" dirty="0">
                  <a:latin typeface="Fira Sans" panose="020B0503050000020004" pitchFamily="34" charset="0"/>
                </a:rPr>
              </a:br>
              <a:r>
                <a:rPr lang="pl-PL" sz="1300" dirty="0">
                  <a:latin typeface="Fira Sans" panose="020B0503050000020004" pitchFamily="34" charset="0"/>
                </a:rPr>
                <a:t>aby wyświetlić aktualne i przeszłe odcinki wypłat</a:t>
              </a:r>
            </a:p>
          </p:txBody>
        </p:sp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747ACB4D-D2B0-D401-42DC-C8A2404A1533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23567F75-6FD8-1512-2420-786F40A59B07}"/>
              </a:ext>
            </a:extLst>
          </p:cNvPr>
          <p:cNvSpPr/>
          <p:nvPr/>
        </p:nvSpPr>
        <p:spPr bwMode="auto">
          <a:xfrm>
            <a:off x="1983252" y="1842035"/>
            <a:ext cx="495014" cy="1696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986086-1152-F08A-97F0-88A0C3BA692D}"/>
              </a:ext>
            </a:extLst>
          </p:cNvPr>
          <p:cNvSpPr txBox="1"/>
          <p:nvPr/>
        </p:nvSpPr>
        <p:spPr>
          <a:xfrm>
            <a:off x="1706840" y="2093730"/>
            <a:ext cx="55887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l-PL" sz="800" b="1">
                <a:solidFill>
                  <a:schemeClr val="accent3"/>
                </a:solidFill>
              </a:rPr>
              <a:t>250,00 US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3B45D3-CE94-AC06-8633-52FA8F04C1B8}"/>
              </a:ext>
            </a:extLst>
          </p:cNvPr>
          <p:cNvSpPr/>
          <p:nvPr/>
        </p:nvSpPr>
        <p:spPr bwMode="auto">
          <a:xfrm>
            <a:off x="1844404" y="4231831"/>
            <a:ext cx="421311" cy="127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C6F0CB-2A38-15E5-4BBE-E16CDBAA4299}"/>
              </a:ext>
            </a:extLst>
          </p:cNvPr>
          <p:cNvSpPr txBox="1"/>
          <p:nvPr/>
        </p:nvSpPr>
        <p:spPr>
          <a:xfrm>
            <a:off x="1700010" y="4186676"/>
            <a:ext cx="6885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900" b="1"/>
              <a:t>250,00 USD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890AE74-A06C-F07C-C06F-BED7846055BD}"/>
              </a:ext>
            </a:extLst>
          </p:cNvPr>
          <p:cNvGrpSpPr/>
          <p:nvPr/>
        </p:nvGrpSpPr>
        <p:grpSpPr>
          <a:xfrm>
            <a:off x="1068744" y="7112122"/>
            <a:ext cx="2451922" cy="952495"/>
            <a:chOff x="1593790" y="8008946"/>
            <a:chExt cx="2451922" cy="952495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7F7DD55-F2FD-1834-D08B-1D38B77C542D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r>
                <a:rPr lang="pl-PL" sz="1300" b="1" dirty="0">
                  <a:latin typeface="Fira Sans" panose="020B0503050000020004" pitchFamily="34" charset="0"/>
                </a:rPr>
                <a:t>Przeszłe </a:t>
              </a:r>
              <a:r>
                <a:rPr lang="pl-PL" sz="1300" dirty="0">
                  <a:latin typeface="Fira Sans" panose="020B0503050000020004" pitchFamily="34" charset="0"/>
                </a:rPr>
                <a:t>i wybierz datę, aby wyświetlić poprzedni odcinek wypłaty</a:t>
              </a: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C03E735C-F1C4-7EC7-115B-64E3FA3FE0DB}"/>
                </a:ext>
              </a:extLst>
            </p:cNvPr>
            <p:cNvSpPr/>
            <p:nvPr/>
          </p:nvSpPr>
          <p:spPr bwMode="auto">
            <a:xfrm>
              <a:off x="3679952" y="8008946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98D3D65-456F-FE7D-AE14-50D33069426F}"/>
              </a:ext>
            </a:extLst>
          </p:cNvPr>
          <p:cNvGrpSpPr/>
          <p:nvPr/>
        </p:nvGrpSpPr>
        <p:grpSpPr>
          <a:xfrm>
            <a:off x="4252529" y="2588515"/>
            <a:ext cx="2488636" cy="924909"/>
            <a:chOff x="4022119" y="2487117"/>
            <a:chExt cx="2391065" cy="92490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801731D-BF52-7295-13C9-C2986126142A}"/>
                </a:ext>
              </a:extLst>
            </p:cNvPr>
            <p:cNvSpPr txBox="1"/>
            <p:nvPr/>
          </p:nvSpPr>
          <p:spPr>
            <a:xfrm>
              <a:off x="4279946" y="2617774"/>
              <a:ext cx="2133238" cy="79425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r>
                <a:rPr lang="pl-PL" sz="1300" b="1" dirty="0">
                  <a:latin typeface="Fira Sans" panose="020B0503050000020004" pitchFamily="34" charset="0"/>
                </a:rPr>
                <a:t>Aktualne</a:t>
              </a:r>
              <a:r>
                <a:rPr lang="pl-PL" sz="1300" dirty="0">
                  <a:latin typeface="Fira Sans" panose="020B0503050000020004" pitchFamily="34" charset="0"/>
                </a:rPr>
                <a:t>, a następnie </a:t>
              </a:r>
              <a:r>
                <a:rPr lang="pl-PL" sz="1300" b="1" dirty="0">
                  <a:latin typeface="Fira Sans" panose="020B0503050000020004" pitchFamily="34" charset="0"/>
                </a:rPr>
                <a:t>Zobacz odcinek wypłaty</a:t>
              </a:r>
              <a:r>
                <a:rPr lang="pl-PL" sz="1300" dirty="0">
                  <a:latin typeface="Fira Sans" panose="020B0503050000020004" pitchFamily="34" charset="0"/>
                </a:rPr>
                <a:t>, </a:t>
              </a:r>
              <a:br>
                <a:rPr lang="en-US" sz="1300" dirty="0">
                  <a:latin typeface="Fira Sans" panose="020B0503050000020004" pitchFamily="34" charset="0"/>
                </a:rPr>
              </a:br>
              <a:r>
                <a:rPr lang="pl-PL" sz="1300" dirty="0">
                  <a:latin typeface="Fira Sans" panose="020B0503050000020004" pitchFamily="34" charset="0"/>
                </a:rPr>
                <a:t>aby wyświetlić </a:t>
              </a:r>
              <a:br>
                <a:rPr lang="en-US" sz="1300" dirty="0">
                  <a:latin typeface="Fira Sans" panose="020B0503050000020004" pitchFamily="34" charset="0"/>
                </a:rPr>
              </a:br>
              <a:r>
                <a:rPr lang="pl-PL" sz="1300" b="1" dirty="0">
                  <a:latin typeface="Fira Sans" panose="020B0503050000020004" pitchFamily="34" charset="0"/>
                </a:rPr>
                <a:t>ostatni odcinek wypłaty</a:t>
              </a:r>
            </a:p>
          </p:txBody>
        </p:sp>
        <p:sp>
          <p:nvSpPr>
            <p:cNvPr id="35" name="Flowchart: Connector 34">
              <a:extLst>
                <a:ext uri="{FF2B5EF4-FFF2-40B4-BE49-F238E27FC236}">
                  <a16:creationId xmlns:a16="http://schemas.microsoft.com/office/drawing/2014/main" id="{D0ED3A71-D514-F770-DF2E-401019A5B7D7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F7082759-064D-BD97-C9C7-6B426C7D52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8673" y="8711582"/>
            <a:ext cx="1073746" cy="557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B28042D-469A-4072-C946-449E23E5012B}"/>
              </a:ext>
            </a:extLst>
          </p:cNvPr>
          <p:cNvSpPr txBox="1"/>
          <p:nvPr/>
        </p:nvSpPr>
        <p:spPr>
          <a:xfrm>
            <a:off x="6375400" y="8961441"/>
            <a:ext cx="175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336E3A-0AE3-4E73-86CC-16EB33DA15B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l-PL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8E278B8-9105-82D0-590E-82660FCE2DF8}"/>
              </a:ext>
            </a:extLst>
          </p:cNvPr>
          <p:cNvGrpSpPr/>
          <p:nvPr/>
        </p:nvGrpSpPr>
        <p:grpSpPr>
          <a:xfrm>
            <a:off x="1803105" y="8386768"/>
            <a:ext cx="2449424" cy="911148"/>
            <a:chOff x="1593790" y="8050293"/>
            <a:chExt cx="2449424" cy="91114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A2BE4FE-B6E8-199D-2055-683C9424178C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/>
                  <a:cs typeface="Arial"/>
                </a:rPr>
                <a:t>Kliknij </a:t>
              </a:r>
              <a:r>
                <a:rPr lang="pl-PL" sz="1300" b="1" dirty="0">
                  <a:latin typeface="Fira Sans"/>
                  <a:cs typeface="Arial"/>
                </a:rPr>
                <a:t>ikonę strzałki </a:t>
              </a:r>
              <a:r>
                <a:rPr lang="pl-PL" sz="1300" dirty="0">
                  <a:latin typeface="Fira Sans"/>
                  <a:cs typeface="Arial"/>
                </a:rPr>
                <a:t>, aby wyświetlić, pobrać lub wydrukować odcinek wypłaty</a:t>
              </a:r>
            </a:p>
          </p:txBody>
        </p:sp>
        <p:sp>
          <p:nvSpPr>
            <p:cNvPr id="52" name="Flowchart: Connector 51">
              <a:extLst>
                <a:ext uri="{FF2B5EF4-FFF2-40B4-BE49-F238E27FC236}">
                  <a16:creationId xmlns:a16="http://schemas.microsoft.com/office/drawing/2014/main" id="{080F5824-F843-EA09-A023-920CC16AD19E}"/>
                </a:ext>
              </a:extLst>
            </p:cNvPr>
            <p:cNvSpPr/>
            <p:nvPr/>
          </p:nvSpPr>
          <p:spPr bwMode="auto">
            <a:xfrm>
              <a:off x="3677454" y="805029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FF356CD9-2242-32E3-0B97-590F7F3477A8}"/>
              </a:ext>
            </a:extLst>
          </p:cNvPr>
          <p:cNvSpPr/>
          <p:nvPr/>
        </p:nvSpPr>
        <p:spPr bwMode="auto">
          <a:xfrm>
            <a:off x="6216538" y="6470250"/>
            <a:ext cx="464034" cy="409277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pl-PL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D21C44-AC4F-67E2-3B41-6D8DF0D876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2593" y="1019090"/>
            <a:ext cx="1953122" cy="4093126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11CFDD43-111F-798F-1BAF-B50104F79A22}"/>
              </a:ext>
            </a:extLst>
          </p:cNvPr>
          <p:cNvSpPr/>
          <p:nvPr/>
        </p:nvSpPr>
        <p:spPr bwMode="auto">
          <a:xfrm>
            <a:off x="643107" y="2201452"/>
            <a:ext cx="1098567" cy="23083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EE634A1-3AF3-639E-1A7B-F90C77646C2C}"/>
              </a:ext>
            </a:extLst>
          </p:cNvPr>
          <p:cNvGrpSpPr/>
          <p:nvPr/>
        </p:nvGrpSpPr>
        <p:grpSpPr>
          <a:xfrm>
            <a:off x="2100354" y="2481659"/>
            <a:ext cx="2127195" cy="4368424"/>
            <a:chOff x="8045428" y="1324839"/>
            <a:chExt cx="2190120" cy="4374223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8EF085F-DC73-D0D4-A62E-5DFF8A28EB0C}"/>
                </a:ext>
              </a:extLst>
            </p:cNvPr>
            <p:cNvGrpSpPr/>
            <p:nvPr/>
          </p:nvGrpSpPr>
          <p:grpSpPr>
            <a:xfrm>
              <a:off x="8045428" y="1324839"/>
              <a:ext cx="2190120" cy="4374223"/>
              <a:chOff x="8045428" y="1324839"/>
              <a:chExt cx="2190120" cy="4374223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44774D6B-401E-D580-E507-6F61F9552B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45428" y="1324839"/>
                <a:ext cx="2190120" cy="4374223"/>
              </a:xfrm>
              <a:prstGeom prst="roundRect">
                <a:avLst/>
              </a:prstGeom>
            </p:spPr>
          </p:pic>
          <p:pic>
            <p:nvPicPr>
              <p:cNvPr id="24" name="Picture 2">
                <a:extLst>
                  <a:ext uri="{FF2B5EF4-FFF2-40B4-BE49-F238E27FC236}">
                    <a16:creationId xmlns:a16="http://schemas.microsoft.com/office/drawing/2014/main" id="{B42B77EC-66AE-2086-E9C9-E65E19303E3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4895" y="1455575"/>
                <a:ext cx="1968808" cy="4086809"/>
              </a:xfrm>
              <a:prstGeom prst="roundRect">
                <a:avLst/>
              </a:prstGeom>
              <a:ln w="19050">
                <a:solidFill>
                  <a:srgbClr val="000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6A001C74-50E3-7A87-628F-47CB1386CB74}"/>
                </a:ext>
              </a:extLst>
            </p:cNvPr>
            <p:cNvSpPr/>
            <p:nvPr/>
          </p:nvSpPr>
          <p:spPr bwMode="auto">
            <a:xfrm>
              <a:off x="8389084" y="1846670"/>
              <a:ext cx="624287" cy="292696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l-PL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3E7FAB1-1494-8543-C819-ED6CF6618C63}"/>
                </a:ext>
              </a:extLst>
            </p:cNvPr>
            <p:cNvSpPr/>
            <p:nvPr/>
          </p:nvSpPr>
          <p:spPr bwMode="auto">
            <a:xfrm>
              <a:off x="8191689" y="3038333"/>
              <a:ext cx="1127539" cy="292696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pl-PL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61FC78C-ACBF-8CB1-85AB-4F3B8329DDDE}"/>
              </a:ext>
            </a:extLst>
          </p:cNvPr>
          <p:cNvGrpSpPr/>
          <p:nvPr/>
        </p:nvGrpSpPr>
        <p:grpSpPr>
          <a:xfrm>
            <a:off x="3497859" y="3836895"/>
            <a:ext cx="2309008" cy="4370832"/>
            <a:chOff x="7468774" y="5236189"/>
            <a:chExt cx="2190120" cy="4374223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09AFCA4-CD86-C4AF-FCA6-4E4841637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68774" y="5236189"/>
              <a:ext cx="2190120" cy="4374223"/>
            </a:xfrm>
            <a:prstGeom prst="roundRect">
              <a:avLst/>
            </a:prstGeom>
          </p:spPr>
        </p:pic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1DE50D8A-3486-56B7-1838-EA8314C50B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6739" y="5331345"/>
              <a:ext cx="1931772" cy="4181588"/>
            </a:xfrm>
            <a:prstGeom prst="roundRect">
              <a:avLst/>
            </a:prstGeom>
            <a:ln w="19050">
              <a:solidFill>
                <a:srgbClr val="0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BA7CD6E-FEB7-2C3F-C0F6-C70B8E8A9ACC}"/>
                </a:ext>
              </a:extLst>
            </p:cNvPr>
            <p:cNvSpPr/>
            <p:nvPr/>
          </p:nvSpPr>
          <p:spPr bwMode="auto">
            <a:xfrm>
              <a:off x="8535538" y="5761733"/>
              <a:ext cx="942823" cy="253107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pl-PL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E0C54983-81D4-CE78-7598-44EA8BC035DF}"/>
                </a:ext>
              </a:extLst>
            </p:cNvPr>
            <p:cNvSpPr/>
            <p:nvPr/>
          </p:nvSpPr>
          <p:spPr bwMode="auto">
            <a:xfrm>
              <a:off x="7563369" y="6577376"/>
              <a:ext cx="2000929" cy="362260"/>
            </a:xfrm>
            <a:prstGeom prst="ellipse">
              <a:avLst/>
            </a:prstGeom>
            <a:noFill/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algn="l"/>
              <a:endParaRPr lang="pl-PL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26" name="Picture 125">
            <a:extLst>
              <a:ext uri="{FF2B5EF4-FFF2-40B4-BE49-F238E27FC236}">
                <a16:creationId xmlns:a16="http://schemas.microsoft.com/office/drawing/2014/main" id="{47F41242-9B1D-E598-70FE-028F481110D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22010"/>
          <a:stretch/>
        </p:blipFill>
        <p:spPr>
          <a:xfrm>
            <a:off x="4206387" y="6493570"/>
            <a:ext cx="2446679" cy="2902316"/>
          </a:xfrm>
          <a:prstGeom prst="rect">
            <a:avLst/>
          </a:prstGeom>
          <a:ln w="19050"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600657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93B6FC-80E9-9C14-4A23-6ADEE2F9F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FADC110-0A5F-3DC7-0241-70D9EA9AB97A}"/>
              </a:ext>
            </a:extLst>
          </p:cNvPr>
          <p:cNvSpPr/>
          <p:nvPr/>
        </p:nvSpPr>
        <p:spPr bwMode="auto">
          <a:xfrm>
            <a:off x="0" y="9212"/>
            <a:ext cx="68580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400" b="0" i="0" u="none" strike="noStrike" kern="1200" cap="none" spc="0" normalizeH="0" baseline="0" noProof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64A1ED-F1D4-E8F4-0480-4824C14B56F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0" t="15643" r="8290" b="63387"/>
          <a:stretch/>
        </p:blipFill>
        <p:spPr>
          <a:xfrm>
            <a:off x="0" y="288969"/>
            <a:ext cx="3327400" cy="557636"/>
          </a:xfrm>
          <a:custGeom>
            <a:avLst/>
            <a:gdLst>
              <a:gd name="connsiteX0" fmla="*/ 0 w 3327400"/>
              <a:gd name="connsiteY0" fmla="*/ 0 h 557636"/>
              <a:gd name="connsiteX1" fmla="*/ 3234459 w 3327400"/>
              <a:gd name="connsiteY1" fmla="*/ 0 h 557636"/>
              <a:gd name="connsiteX2" fmla="*/ 3327400 w 3327400"/>
              <a:gd name="connsiteY2" fmla="*/ 92941 h 557636"/>
              <a:gd name="connsiteX3" fmla="*/ 3327400 w 3327400"/>
              <a:gd name="connsiteY3" fmla="*/ 464695 h 557636"/>
              <a:gd name="connsiteX4" fmla="*/ 3234459 w 3327400"/>
              <a:gd name="connsiteY4" fmla="*/ 557636 h 557636"/>
              <a:gd name="connsiteX5" fmla="*/ 0 w 3327400"/>
              <a:gd name="connsiteY5" fmla="*/ 557636 h 557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7400" h="557636">
                <a:moveTo>
                  <a:pt x="0" y="0"/>
                </a:moveTo>
                <a:lnTo>
                  <a:pt x="3234459" y="0"/>
                </a:lnTo>
                <a:cubicBezTo>
                  <a:pt x="3285789" y="0"/>
                  <a:pt x="3327400" y="41611"/>
                  <a:pt x="3327400" y="92941"/>
                </a:cubicBezTo>
                <a:lnTo>
                  <a:pt x="3327400" y="464695"/>
                </a:lnTo>
                <a:cubicBezTo>
                  <a:pt x="3327400" y="516025"/>
                  <a:pt x="3285789" y="557636"/>
                  <a:pt x="3234459" y="557636"/>
                </a:cubicBezTo>
                <a:lnTo>
                  <a:pt x="0" y="557636"/>
                </a:lnTo>
                <a:close/>
              </a:path>
            </a:pathLst>
          </a:cu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8DA3CA1-3808-D607-58B6-D92903ADBE0C}"/>
              </a:ext>
            </a:extLst>
          </p:cNvPr>
          <p:cNvSpPr/>
          <p:nvPr/>
        </p:nvSpPr>
        <p:spPr bwMode="auto">
          <a:xfrm>
            <a:off x="-101600" y="288969"/>
            <a:ext cx="3429000" cy="557636"/>
          </a:xfrm>
          <a:prstGeom prst="roundRect">
            <a:avLst/>
          </a:prstGeom>
          <a:solidFill>
            <a:schemeClr val="accent3">
              <a:alpha val="7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kumimoji="0" lang="pl-PL" sz="175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/>
                <a:ea typeface="Calibri" panose="020F0502020204030204" pitchFamily="34" charset="0"/>
                <a:cs typeface="Calibri"/>
              </a:rPr>
              <a:t>Wyświetlanie dokumentów podatkowych</a:t>
            </a:r>
            <a:endParaRPr kumimoji="0" lang="pl-PL" sz="175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ra Sans" panose="020B05030500000200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EF737DA-470D-4D21-74EE-981A8C24A305}"/>
              </a:ext>
            </a:extLst>
          </p:cNvPr>
          <p:cNvGrpSpPr/>
          <p:nvPr/>
        </p:nvGrpSpPr>
        <p:grpSpPr>
          <a:xfrm>
            <a:off x="2528502" y="1008577"/>
            <a:ext cx="2901224" cy="919114"/>
            <a:chOff x="2718280" y="1406337"/>
            <a:chExt cx="2901224" cy="91911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DC070FF-C876-5D09-5A32-861643CD7AAB}"/>
                </a:ext>
              </a:extLst>
            </p:cNvPr>
            <p:cNvSpPr txBox="1"/>
            <p:nvPr/>
          </p:nvSpPr>
          <p:spPr>
            <a:xfrm>
              <a:off x="2901160" y="1586787"/>
              <a:ext cx="2718344" cy="73866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br>
                <a:rPr lang="en-US" sz="1300" dirty="0">
                  <a:latin typeface="Fira Sans" panose="020B0503050000020004" pitchFamily="34" charset="0"/>
                </a:rPr>
              </a:br>
              <a:r>
                <a:rPr lang="pl-PL" sz="1300" b="1" dirty="0">
                  <a:latin typeface="Fira Sans" panose="020B0503050000020004" pitchFamily="34" charset="0"/>
                </a:rPr>
                <a:t>Zobacz odcinki wypłat</a:t>
              </a:r>
              <a:endParaRPr lang="pl-PL" sz="1300" dirty="0">
                <a:latin typeface="Fira Sans" panose="020B0503050000020004" pitchFamily="34" charset="0"/>
              </a:endParaRPr>
            </a:p>
          </p:txBody>
        </p:sp>
        <p:sp>
          <p:nvSpPr>
            <p:cNvPr id="31" name="Flowchart: Connector 30">
              <a:extLst>
                <a:ext uri="{FF2B5EF4-FFF2-40B4-BE49-F238E27FC236}">
                  <a16:creationId xmlns:a16="http://schemas.microsoft.com/office/drawing/2014/main" id="{86642ED2-4D8D-17FE-4605-E722ACB18617}"/>
                </a:ext>
              </a:extLst>
            </p:cNvPr>
            <p:cNvSpPr/>
            <p:nvPr/>
          </p:nvSpPr>
          <p:spPr bwMode="auto">
            <a:xfrm>
              <a:off x="2718280" y="140633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1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F7668F85-3693-9E78-D8EE-EBB801CC4D1E}"/>
              </a:ext>
            </a:extLst>
          </p:cNvPr>
          <p:cNvSpPr/>
          <p:nvPr/>
        </p:nvSpPr>
        <p:spPr bwMode="auto">
          <a:xfrm>
            <a:off x="1983252" y="1842035"/>
            <a:ext cx="495014" cy="16964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736700-D7E1-671A-F9F0-565390964905}"/>
              </a:ext>
            </a:extLst>
          </p:cNvPr>
          <p:cNvSpPr/>
          <p:nvPr/>
        </p:nvSpPr>
        <p:spPr bwMode="auto">
          <a:xfrm>
            <a:off x="1844404" y="4231831"/>
            <a:ext cx="421311" cy="127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3FC229B3-2D5A-F253-E507-04CB60003760}"/>
              </a:ext>
            </a:extLst>
          </p:cNvPr>
          <p:cNvGrpSpPr/>
          <p:nvPr/>
        </p:nvGrpSpPr>
        <p:grpSpPr>
          <a:xfrm>
            <a:off x="1144944" y="7112122"/>
            <a:ext cx="2451922" cy="952495"/>
            <a:chOff x="1593790" y="8008946"/>
            <a:chExt cx="2451922" cy="952495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ED84CF3C-3AB5-6936-57D1-C4FE10BB4EAD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Wyświetli się lista formularzy W-2 do rozliczenia rocznego, kliknij W-2</a:t>
              </a: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E73CF332-D8E2-4184-04C7-024914352BF7}"/>
                </a:ext>
              </a:extLst>
            </p:cNvPr>
            <p:cNvSpPr/>
            <p:nvPr/>
          </p:nvSpPr>
          <p:spPr bwMode="auto">
            <a:xfrm>
              <a:off x="3679952" y="8008946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3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D1266A6-0437-42E9-B6E9-C5B99026A777}"/>
              </a:ext>
            </a:extLst>
          </p:cNvPr>
          <p:cNvGrpSpPr/>
          <p:nvPr/>
        </p:nvGrpSpPr>
        <p:grpSpPr>
          <a:xfrm>
            <a:off x="4252529" y="2588515"/>
            <a:ext cx="2488636" cy="924909"/>
            <a:chOff x="4022119" y="2487117"/>
            <a:chExt cx="2391065" cy="924909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35556CB-A82A-A123-433A-E45667EEBDB3}"/>
                </a:ext>
              </a:extLst>
            </p:cNvPr>
            <p:cNvSpPr txBox="1"/>
            <p:nvPr/>
          </p:nvSpPr>
          <p:spPr>
            <a:xfrm>
              <a:off x="4279946" y="2617774"/>
              <a:ext cx="2133238" cy="794252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 panose="020B0503050000020004" pitchFamily="34" charset="0"/>
                </a:rPr>
                <a:t>Kliknij </a:t>
              </a:r>
              <a:br>
                <a:rPr lang="en-US" sz="1300" dirty="0">
                  <a:latin typeface="Fira Sans" panose="020B0503050000020004" pitchFamily="34" charset="0"/>
                </a:rPr>
              </a:br>
              <a:r>
                <a:rPr lang="pl-PL" sz="1300" b="1" dirty="0">
                  <a:latin typeface="Fira Sans" panose="020B0503050000020004" pitchFamily="34" charset="0"/>
                </a:rPr>
                <a:t>Dokumenty podatkowe</a:t>
              </a:r>
            </a:p>
          </p:txBody>
        </p:sp>
        <p:sp>
          <p:nvSpPr>
            <p:cNvPr id="35" name="Flowchart: Connector 34">
              <a:extLst>
                <a:ext uri="{FF2B5EF4-FFF2-40B4-BE49-F238E27FC236}">
                  <a16:creationId xmlns:a16="http://schemas.microsoft.com/office/drawing/2014/main" id="{5B4987C5-525E-6DD3-986C-A659FC56ADA7}"/>
                </a:ext>
              </a:extLst>
            </p:cNvPr>
            <p:cNvSpPr/>
            <p:nvPr/>
          </p:nvSpPr>
          <p:spPr bwMode="auto">
            <a:xfrm>
              <a:off x="4022119" y="2487117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2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C8961BE0-3384-07F4-7A09-514EA266B5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08673" y="8711582"/>
            <a:ext cx="1073746" cy="557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038D4CC-3735-052F-6462-DE4CDED984A9}"/>
              </a:ext>
            </a:extLst>
          </p:cNvPr>
          <p:cNvSpPr txBox="1"/>
          <p:nvPr/>
        </p:nvSpPr>
        <p:spPr>
          <a:xfrm>
            <a:off x="6375400" y="8961441"/>
            <a:ext cx="1754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336E3A-0AE3-4E73-86CC-16EB33DA15BF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l-PL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6AB616F-F79F-5490-8A7E-5C70209716DD}"/>
              </a:ext>
            </a:extLst>
          </p:cNvPr>
          <p:cNvGrpSpPr/>
          <p:nvPr/>
        </p:nvGrpSpPr>
        <p:grpSpPr>
          <a:xfrm>
            <a:off x="1803105" y="8386768"/>
            <a:ext cx="2449424" cy="911148"/>
            <a:chOff x="1593790" y="8050293"/>
            <a:chExt cx="2449424" cy="91114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FA0BA7C0-5F42-0525-8E43-BB14F63CE40F}"/>
                </a:ext>
              </a:extLst>
            </p:cNvPr>
            <p:cNvSpPr txBox="1"/>
            <p:nvPr/>
          </p:nvSpPr>
          <p:spPr>
            <a:xfrm>
              <a:off x="1593790" y="8222778"/>
              <a:ext cx="2309008" cy="7386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18288" bIns="1828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2pPr lvl="1" algn="l">
                <a:defRPr sz="2000" b="1" i="1">
                  <a:solidFill>
                    <a:schemeClr val="tx1"/>
                  </a:solidFill>
                  <a:latin typeface="Fira Sans" panose="020B0503050000020004" pitchFamily="34" charset="0"/>
                </a:defRPr>
              </a:lvl2pPr>
            </a:lstStyle>
            <a:p>
              <a:r>
                <a:rPr lang="pl-PL" sz="1300" dirty="0">
                  <a:latin typeface="Fira Sans"/>
                  <a:cs typeface="Arial"/>
                </a:rPr>
                <a:t>Kliknij </a:t>
              </a:r>
              <a:r>
                <a:rPr lang="pl-PL" sz="1300" b="1" dirty="0">
                  <a:latin typeface="Fira Sans"/>
                  <a:cs typeface="Arial"/>
                </a:rPr>
                <a:t>ikonę strzałki </a:t>
              </a:r>
              <a:r>
                <a:rPr lang="pl-PL" sz="1300" dirty="0">
                  <a:latin typeface="Fira Sans"/>
                  <a:cs typeface="Arial"/>
                </a:rPr>
                <a:t>, aby wyświetlić, pobrać lub wydrukować formularz W-2</a:t>
              </a:r>
            </a:p>
          </p:txBody>
        </p:sp>
        <p:sp>
          <p:nvSpPr>
            <p:cNvPr id="52" name="Flowchart: Connector 51">
              <a:extLst>
                <a:ext uri="{FF2B5EF4-FFF2-40B4-BE49-F238E27FC236}">
                  <a16:creationId xmlns:a16="http://schemas.microsoft.com/office/drawing/2014/main" id="{8F04ED4F-47BE-D4FB-E26F-402611E438AA}"/>
                </a:ext>
              </a:extLst>
            </p:cNvPr>
            <p:cNvSpPr/>
            <p:nvPr/>
          </p:nvSpPr>
          <p:spPr bwMode="auto">
            <a:xfrm>
              <a:off x="3677454" y="8050293"/>
              <a:ext cx="365760" cy="365760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 w="571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0" rIns="18288" bIns="1828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pl-PL" sz="1600" b="1" i="0" u="none" strike="noStrike" cap="none" normalizeH="0" baseline="0">
                  <a:ln>
                    <a:noFill/>
                  </a:ln>
                  <a:solidFill>
                    <a:schemeClr val="bg1"/>
                  </a:solidFill>
                  <a:effectLst/>
                  <a:latin typeface="Fira Sans" panose="020B0503050000020004" pitchFamily="34" charset="0"/>
                  <a:cs typeface="Arial" pitchFamily="34" charset="0"/>
                </a:rPr>
                <a:t>4</a:t>
              </a:r>
              <a:endParaRPr kumimoji="0" lang="pl-PL" sz="11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Fira Sans" panose="020B0503050000020004" pitchFamily="34" charset="0"/>
                <a:cs typeface="Arial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C364991F-8271-28EB-B187-7A1F045EC5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980" y="1243473"/>
            <a:ext cx="1845399" cy="3745650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EEAC3393-5831-F21A-FD50-AB70C4B2BF31}"/>
              </a:ext>
            </a:extLst>
          </p:cNvPr>
          <p:cNvSpPr/>
          <p:nvPr/>
        </p:nvSpPr>
        <p:spPr bwMode="auto">
          <a:xfrm>
            <a:off x="740792" y="2334159"/>
            <a:ext cx="1098567" cy="23083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10">
            <a:extLst>
              <a:ext uri="{FF2B5EF4-FFF2-40B4-BE49-F238E27FC236}">
                <a16:creationId xmlns:a16="http://schemas.microsoft.com/office/drawing/2014/main" id="{E2DEEEE8-217A-63E1-70CE-5B2995280118}"/>
              </a:ext>
            </a:extLst>
          </p:cNvPr>
          <p:cNvGrpSpPr/>
          <p:nvPr/>
        </p:nvGrpSpPr>
        <p:grpSpPr>
          <a:xfrm>
            <a:off x="2001764" y="2270113"/>
            <a:ext cx="1845398" cy="3525786"/>
            <a:chOff x="0" y="0"/>
            <a:chExt cx="3201348" cy="6597703"/>
          </a:xfrm>
        </p:grpSpPr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5C0776D-D7E4-62CC-8D09-82ADEA131914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8"/>
              <a:stretch>
                <a:fillRect/>
              </a:stretch>
            </a:blipFill>
          </p:spPr>
          <p:txBody>
            <a:bodyPr/>
            <a:lstStyle/>
            <a:p>
              <a:endParaRPr lang="pl-PL"/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C0D1B7EA-6944-6EEC-A658-39ABD3039E69}"/>
              </a:ext>
            </a:extLst>
          </p:cNvPr>
          <p:cNvSpPr/>
          <p:nvPr/>
        </p:nvSpPr>
        <p:spPr bwMode="auto">
          <a:xfrm>
            <a:off x="2042668" y="4401653"/>
            <a:ext cx="1569664" cy="289392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4" name="Group 6">
            <a:extLst>
              <a:ext uri="{FF2B5EF4-FFF2-40B4-BE49-F238E27FC236}">
                <a16:creationId xmlns:a16="http://schemas.microsoft.com/office/drawing/2014/main" id="{1B901A92-F251-BAEF-58BC-5EDC9E7A584E}"/>
              </a:ext>
            </a:extLst>
          </p:cNvPr>
          <p:cNvGrpSpPr/>
          <p:nvPr/>
        </p:nvGrpSpPr>
        <p:grpSpPr>
          <a:xfrm>
            <a:off x="4877748" y="6087777"/>
            <a:ext cx="1776490" cy="3447321"/>
            <a:chOff x="-238026" y="-274835"/>
            <a:chExt cx="3201348" cy="6597703"/>
          </a:xfrm>
        </p:grpSpPr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8942C9C6-0FF2-F898-CA06-4237C1809EA5}"/>
                </a:ext>
              </a:extLst>
            </p:cNvPr>
            <p:cNvSpPr/>
            <p:nvPr/>
          </p:nvSpPr>
          <p:spPr>
            <a:xfrm>
              <a:off x="-238026" y="-274835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/>
              <a:stretch>
                <a:fillRect/>
              </a:stretch>
            </a:blipFill>
          </p:spPr>
          <p:txBody>
            <a:bodyPr/>
            <a:lstStyle/>
            <a:p>
              <a:endParaRPr lang="pl-PL" dirty="0"/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D2A49CD4-3E12-AC10-AA3B-5C5441DCA31F}"/>
              </a:ext>
            </a:extLst>
          </p:cNvPr>
          <p:cNvSpPr/>
          <p:nvPr/>
        </p:nvSpPr>
        <p:spPr bwMode="auto">
          <a:xfrm>
            <a:off x="6144657" y="6746925"/>
            <a:ext cx="461486" cy="223398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8">
            <a:extLst>
              <a:ext uri="{FF2B5EF4-FFF2-40B4-BE49-F238E27FC236}">
                <a16:creationId xmlns:a16="http://schemas.microsoft.com/office/drawing/2014/main" id="{3B9E52B2-A94F-A3B8-3E36-976DE75D6B2E}"/>
              </a:ext>
            </a:extLst>
          </p:cNvPr>
          <p:cNvGrpSpPr/>
          <p:nvPr/>
        </p:nvGrpSpPr>
        <p:grpSpPr>
          <a:xfrm>
            <a:off x="3512312" y="4031202"/>
            <a:ext cx="1731310" cy="3266066"/>
            <a:chOff x="0" y="0"/>
            <a:chExt cx="3201348" cy="6597703"/>
          </a:xfrm>
        </p:grpSpPr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C9E1F6B2-520E-5F7F-BCDE-EB29C80DF7B3}"/>
                </a:ext>
              </a:extLst>
            </p:cNvPr>
            <p:cNvSpPr/>
            <p:nvPr/>
          </p:nvSpPr>
          <p:spPr>
            <a:xfrm>
              <a:off x="0" y="0"/>
              <a:ext cx="3201348" cy="6597703"/>
            </a:xfrm>
            <a:custGeom>
              <a:avLst/>
              <a:gdLst/>
              <a:ahLst/>
              <a:cxnLst/>
              <a:rect l="l" t="t" r="r" b="b"/>
              <a:pathLst>
                <a:path w="3201348" h="6597703">
                  <a:moveTo>
                    <a:pt x="0" y="0"/>
                  </a:moveTo>
                  <a:lnTo>
                    <a:pt x="3201348" y="0"/>
                  </a:lnTo>
                  <a:lnTo>
                    <a:pt x="3201348" y="6597703"/>
                  </a:lnTo>
                  <a:lnTo>
                    <a:pt x="0" y="659770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0"/>
              <a:stretch>
                <a:fillRect/>
              </a:stretch>
            </a:blipFill>
          </p:spPr>
          <p:txBody>
            <a:bodyPr/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20013984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282F2E2808083B092F062D36" val="H08aWFt3alEkDywMCCIeUWtlWlxGGXdPbQAVVghPVk9QaX5HYEw1Sl5xVEV/dk5cRgV3T20ARA==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222232E2F081236" val="H08aWFt3alEkDywMCCIeUWtlWlxGGXdPbAMPWlVbWExNZSpRdltzRl1yW0Vla1oHRldjTWAcCUBWXkBYCWV8QH5Ae1hVdhE=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" val="{&quot;selection&quot;:0,&quot;v&quot;:0,&quot;handler&quot;:&quot;PresBuilder.PowerPoint.Components.CoverSlide.CoverSlideObject, PresBuilder.PowerPoint.dll&quot;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3F2D392A0E08340F21062D" val="H08PFQUiZEluTG5KEGVWQmRpQEhWXmNHbR4bGEZXWk9Pc3NHeVluShNlVktjflZAXV1sQWseGxxGV1VUVHZxRX9WPw==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C2B3F2F120B31093C" val="H08aWFt3alEkDywMCCIeUWtlWlxGGXdPbAQIWlNYXk1NZSpRdl1wWEpwWl9zMFpKVVltW2oAFVYMT1ZJU2lyDg==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2F3F2E200A1620" val="H08IGxUmZEluPRYpKRdOX3MzWkpVXHtBagcLQ1JBThZDfXFKeUB7WlN1WEV9ZQ9SXlRtW28DAUVdQU4SQ310RmJac1lTdF1ELA==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8222B35" val="H08YA0N9d19uHi4JByJOSWBrWhMJHXdPexAVVgJPVlhDa2QFblRyREYzTklkckBcRgF3T2wGCVhGGk5AUH5+X24GYFJQdEJBLA==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E3938350E123F09" val="H08aWFt3alEkDywMCCIeUWtlWlxETyFXYwALRUpbWkJQa2QfblR6WUp0VEdocVRSE09vQW0EF0JVWFRWQy9kSX5aPw==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E3938350E123F09" val="H08aWFt3alEkDywMCCIeUWtlWlxETyFXYwALRUpbWkJQa2QfblR6WUp0VEdocVRSE09vQW0EF0JVWFRWQy9kSX5aPw==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439252E2D02" val="H08aWFt3alEkDywMCCIeUWtlWlxETyFXYwMOTEpYVUlQa2QfblR6WUp0VEdpf1RSE09vQW0FF0BTX15WQy9kSX9WbF9TclxHLA==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2722222E2409122C0E210631" val="H08aWFt3alE4THhZV3ZCRGdrWhxGV2BBdRBOVl5bVE5NZS5Rdl17Xhk=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024383624" val="H08aWFt3alEkDywMCCIeUWtlWlxGGXdPbQAVVghPVk9QaX5HYEw1Sl5xVEV/dk5cRgV3T20ARA==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37382E2E28130A36" val="H08aWFt3alEkDywMCCIeUWtlWlxGGXdPaAILWlZZQFgNZXxGfUB6XEhlG1FrcUBGSlxjWXtaG05XXRE="/>
</p:tagLst>
</file>

<file path=ppt/theme/theme1.xml><?xml version="1.0" encoding="utf-8"?>
<a:theme xmlns:a="http://schemas.openxmlformats.org/drawingml/2006/main" name="Intro and Divider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Barclays Arial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2.xml><?xml version="1.0" encoding="utf-8"?>
<a:theme xmlns:a="http://schemas.openxmlformats.org/drawingml/2006/main" name="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3.xml><?xml version="1.0" encoding="utf-8"?>
<a:theme xmlns:a="http://schemas.openxmlformats.org/drawingml/2006/main" name="2_Office Theme">
  <a:themeElements>
    <a:clrScheme name="HaH Color Scheme">
      <a:dk1>
        <a:srgbClr val="404041"/>
      </a:dk1>
      <a:lt1>
        <a:srgbClr val="FFFFFF"/>
      </a:lt1>
      <a:dk2>
        <a:srgbClr val="6D1D68"/>
      </a:dk2>
      <a:lt2>
        <a:srgbClr val="F3FBEF"/>
      </a:lt2>
      <a:accent1>
        <a:srgbClr val="96288E"/>
      </a:accent1>
      <a:accent2>
        <a:srgbClr val="C71A8D"/>
      </a:accent2>
      <a:accent3>
        <a:srgbClr val="AFC033"/>
      </a:accent3>
      <a:accent4>
        <a:srgbClr val="00B6B6"/>
      </a:accent4>
      <a:accent5>
        <a:srgbClr val="FBAC2E"/>
      </a:accent5>
      <a:accent6>
        <a:srgbClr val="B9BABD"/>
      </a:accent6>
      <a:hlink>
        <a:srgbClr val="C71A8D"/>
      </a:hlink>
      <a:folHlink>
        <a:srgbClr val="AFC0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5.xml><?xml version="1.0" encoding="utf-8"?>
<a:theme xmlns:a="http://schemas.openxmlformats.org/drawingml/2006/main" name="2_Content">
  <a:themeElements>
    <a:clrScheme name="Help at Home">
      <a:dk1>
        <a:srgbClr val="404041"/>
      </a:dk1>
      <a:lt1>
        <a:srgbClr val="FFFFFF"/>
      </a:lt1>
      <a:dk2>
        <a:srgbClr val="6D1D68"/>
      </a:dk2>
      <a:lt2>
        <a:srgbClr val="F4FBEF"/>
      </a:lt2>
      <a:accent1>
        <a:srgbClr val="C71A8D"/>
      </a:accent1>
      <a:accent2>
        <a:srgbClr val="AFC033"/>
      </a:accent2>
      <a:accent3>
        <a:srgbClr val="96288E"/>
      </a:accent3>
      <a:accent4>
        <a:srgbClr val="00B6B6"/>
      </a:accent4>
      <a:accent5>
        <a:srgbClr val="FBAC2E"/>
      </a:accent5>
      <a:accent6>
        <a:srgbClr val="B9BABD"/>
      </a:accent6>
      <a:hlink>
        <a:srgbClr val="007AC4"/>
      </a:hlink>
      <a:folHlink>
        <a:srgbClr val="77777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18288" bIns="1828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/>
  <a:custClrLst>
    <a:custClr name="Stable Black (Dark 1)">
      <a:srgbClr val="000000"/>
    </a:custClr>
    <a:custClr name="Stable White (Light 1)">
      <a:srgbClr val="FFFFFF"/>
    </a:custClr>
    <a:custClr name="Stable Dark Blue (Dark 2)">
      <a:srgbClr val="00395C"/>
    </a:custClr>
    <a:custClr name="Stable White (Light 2)">
      <a:srgbClr val="FFFFFF"/>
    </a:custClr>
    <a:custClr name="Title Bar Fill (Teal)">
      <a:srgbClr val="006991"/>
    </a:custClr>
    <a:custClr name="Stable Barclays Cyan">
      <a:srgbClr val="00AEEF"/>
    </a:custClr>
    <a:custClr name="Stable Map Fill 1">
      <a:srgbClr val="FFF2CF"/>
    </a:custClr>
    <a:custClr name="Stable Map Fill 2">
      <a:srgbClr val="DDDEDE"/>
    </a:custClr>
    <a:custClr name="Stable Map Border">
      <a:srgbClr val="ACACAD"/>
    </a:custClr>
    <a:custClr name=" ">
      <a:srgbClr val="FFFFFF"/>
    </a:custClr>
    <a:custClr name="Barclays Cyan">
      <a:srgbClr val="00AEEF"/>
    </a:custClr>
    <a:custClr name="Yellow">
      <a:srgbClr val="FEBE10"/>
    </a:custClr>
    <a:custClr name="Teal">
      <a:srgbClr val="006991"/>
    </a:custClr>
    <a:custClr name="Lime Green">
      <a:srgbClr val="99B221"/>
    </a:custClr>
    <a:custClr name="Dark Gray">
      <a:srgbClr val="58595B"/>
    </a:custClr>
    <a:custClr name="Barclays 50%">
      <a:srgbClr val="80CDED"/>
    </a:custClr>
    <a:custClr name="Orange">
      <a:srgbClr val="E5801D"/>
    </a:custClr>
    <a:custClr name="Royal Blue">
      <a:srgbClr val="3250AA"/>
    </a:custClr>
    <a:custClr name="Green">
      <a:srgbClr val="519136"/>
    </a:custClr>
    <a:custClr name="Red">
      <a:srgbClr val="9D063B"/>
    </a:custClr>
    <a:custClr name="Barclays Cyan 70%">
      <a:srgbClr val="4DC6F4"/>
    </a:custClr>
    <a:custClr name="Yellow 50%">
      <a:srgbClr val="FEDF87"/>
    </a:custClr>
    <a:custClr name="Teal 50%">
      <a:srgbClr val="80B4C8"/>
    </a:custClr>
    <a:custClr name="Lime Green 50%">
      <a:srgbClr val="CCD890"/>
    </a:custClr>
    <a:custClr name="Dark Gray 50%">
      <a:srgbClr val="ACACAD"/>
    </a:custClr>
    <a:custClr name="Barclays 25%">
      <a:srgbClr val="C0E6F6"/>
    </a:custClr>
    <a:custClr name="Orange 50%">
      <a:srgbClr val="F2C08E"/>
    </a:custClr>
    <a:custClr name="Royal Blue 50%">
      <a:srgbClr val="99A8D4"/>
    </a:custClr>
    <a:custClr name="Green 50%">
      <a:srgbClr val="A8C89A"/>
    </a:custClr>
    <a:custClr name="Red 50%">
      <a:srgbClr val="CE829D"/>
    </a:custClr>
  </a:custClrLst>
  <a:extLst>
    <a:ext uri="{05A4C25C-085E-4340-85A3-A5531E510DB2}">
      <thm15:themeFamily xmlns:thm15="http://schemas.microsoft.com/office/thememl/2012/main" name="Barclays Global.potx" id="{4733EFD2-FE1B-4B49-8A63-73BBD0B771F2}" vid="{41A93032-647F-4985-A6CF-E1053DA4C7E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B0AB781811F74799C4C570FDAAB7DC" ma:contentTypeVersion="14" ma:contentTypeDescription="Create a new document." ma:contentTypeScope="" ma:versionID="83941a8bd6a306753dc6fbbd4d291557">
  <xsd:schema xmlns:xsd="http://www.w3.org/2001/XMLSchema" xmlns:xs="http://www.w3.org/2001/XMLSchema" xmlns:p="http://schemas.microsoft.com/office/2006/metadata/properties" xmlns:ns2="3a94150c-44f1-4a02-9cef-28394f366a23" xmlns:ns3="a88e8755-9e22-413d-a5dc-e6fa913b3719" targetNamespace="http://schemas.microsoft.com/office/2006/metadata/properties" ma:root="true" ma:fieldsID="a1250a7d572388ce589aaca0cbfe26c6" ns2:_="" ns3:_="">
    <xsd:import namespace="3a94150c-44f1-4a02-9cef-28394f366a23"/>
    <xsd:import namespace="a88e8755-9e22-413d-a5dc-e6fa913b37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94150c-44f1-4a02-9cef-28394f366a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6f9e8b5-8263-4a2d-a9e3-8750687bb3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8e8755-9e22-413d-a5dc-e6fa913b371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8edd73f9-90e7-46d8-980c-e14249cc9d68}" ma:internalName="TaxCatchAll" ma:showField="CatchAllData" ma:web="a88e8755-9e22-413d-a5dc-e6fa913b371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88e8755-9e22-413d-a5dc-e6fa913b3719" xsi:nil="true"/>
    <lcf76f155ced4ddcb4097134ff3c332f xmlns="3a94150c-44f1-4a02-9cef-28394f366a23">
      <Terms xmlns="http://schemas.microsoft.com/office/infopath/2007/PartnerControls"/>
    </lcf76f155ced4ddcb4097134ff3c332f>
    <SharedWithUsers xmlns="a88e8755-9e22-413d-a5dc-e6fa913b3719">
      <UserInfo>
        <DisplayName>Megan Lueders</DisplayName>
        <AccountId>106</AccountId>
        <AccountType/>
      </UserInfo>
      <UserInfo>
        <DisplayName>Bill Jamison</DisplayName>
        <AccountId>118</AccountId>
        <AccountType/>
      </UserInfo>
      <UserInfo>
        <DisplayName>Andy Brinckerhoff</DisplayName>
        <AccountId>155</AccountId>
        <AccountType/>
      </UserInfo>
      <UserInfo>
        <DisplayName>WENDY CARBERG</DisplayName>
        <AccountId>17</AccountId>
        <AccountType/>
      </UserInfo>
      <UserInfo>
        <DisplayName>Jennifer Lemkuil</DisplayName>
        <AccountId>105</AccountId>
        <AccountType/>
      </UserInfo>
      <UserInfo>
        <DisplayName>LAUREN FRANK</DisplayName>
        <AccountId>163</AccountId>
        <AccountType/>
      </UserInfo>
      <UserInfo>
        <DisplayName>DYLAN ORBAUGH</DisplayName>
        <AccountId>16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E9D4741C-9E60-4FF6-9F73-19C3B93E5DA2}">
  <ds:schemaRefs>
    <ds:schemaRef ds:uri="3a94150c-44f1-4a02-9cef-28394f366a23"/>
    <ds:schemaRef ds:uri="a88e8755-9e22-413d-a5dc-e6fa913b371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F789E47-B987-4005-9C2F-6B7992AB2F5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29E399-2945-4EB2-ADD8-4BA545FD14D9}">
  <ds:schemaRefs>
    <ds:schemaRef ds:uri="http://purl.org/dc/elements/1.1/"/>
    <ds:schemaRef ds:uri="http://www.w3.org/XML/1998/namespace"/>
    <ds:schemaRef ds:uri="a88e8755-9e22-413d-a5dc-e6fa913b3719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schemas.microsoft.com/office/infopath/2007/PartnerControls"/>
    <ds:schemaRef ds:uri="3a94150c-44f1-4a02-9cef-28394f366a2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12 13 21 HAH-4709_PPT_Master_V7 shortversionfinal10.22</Template>
  <TotalTime>2989</TotalTime>
  <Words>907</Words>
  <Application>Microsoft Office PowerPoint</Application>
  <PresentationFormat>Custom</PresentationFormat>
  <Paragraphs>159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9" baseType="lpstr">
      <vt:lpstr>Arial</vt:lpstr>
      <vt:lpstr>Calibri</vt:lpstr>
      <vt:lpstr>Calibri Light</vt:lpstr>
      <vt:lpstr>Fira Sans</vt:lpstr>
      <vt:lpstr>Fira Sans Bold</vt:lpstr>
      <vt:lpstr>Wingdings</vt:lpstr>
      <vt:lpstr>Wingdings 2</vt:lpstr>
      <vt:lpstr>Wingdings 3</vt:lpstr>
      <vt:lpstr>Intro and Divider</vt:lpstr>
      <vt:lpstr>Content</vt:lpstr>
      <vt:lpstr>2_Office Theme</vt:lpstr>
      <vt:lpstr>1_Content</vt:lpstr>
      <vt:lpstr>2_Conte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zablon szkolenia</dc:title>
  <dc:creator>Jake Ruetz</dc:creator>
  <cp:lastModifiedBy>TYLER QUILLIN</cp:lastModifiedBy>
  <cp:revision>7</cp:revision>
  <dcterms:created xsi:type="dcterms:W3CDTF">2022-02-15T13:04:28Z</dcterms:created>
  <dcterms:modified xsi:type="dcterms:W3CDTF">2025-05-01T15:5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B0AB781811F74799C4C570FDAAB7DC</vt:lpwstr>
  </property>
  <property fmtid="{D5CDD505-2E9C-101B-9397-08002B2CF9AE}" pid="3" name="MediaServiceImageTags">
    <vt:lpwstr/>
  </property>
  <property fmtid="{D5CDD505-2E9C-101B-9397-08002B2CF9AE}" pid="4" name="MSIP_Label_6d5d322d-32bf-4bf5-b158-5f4f2387fdee_Enabled">
    <vt:lpwstr>true</vt:lpwstr>
  </property>
  <property fmtid="{D5CDD505-2E9C-101B-9397-08002B2CF9AE}" pid="5" name="MSIP_Label_6d5d322d-32bf-4bf5-b158-5f4f2387fdee_SetDate">
    <vt:lpwstr>2025-02-05T22:01:16Z</vt:lpwstr>
  </property>
  <property fmtid="{D5CDD505-2E9C-101B-9397-08002B2CF9AE}" pid="6" name="MSIP_Label_6d5d322d-32bf-4bf5-b158-5f4f2387fdee_Method">
    <vt:lpwstr>Standard</vt:lpwstr>
  </property>
  <property fmtid="{D5CDD505-2E9C-101B-9397-08002B2CF9AE}" pid="7" name="MSIP_Label_6d5d322d-32bf-4bf5-b158-5f4f2387fdee_Name">
    <vt:lpwstr>defa4170-0d19-0005-0004-bc88714345d2</vt:lpwstr>
  </property>
  <property fmtid="{D5CDD505-2E9C-101B-9397-08002B2CF9AE}" pid="8" name="MSIP_Label_6d5d322d-32bf-4bf5-b158-5f4f2387fdee_SiteId">
    <vt:lpwstr>2d9be6dc-3da9-4996-9537-6be529fe28d6</vt:lpwstr>
  </property>
  <property fmtid="{D5CDD505-2E9C-101B-9397-08002B2CF9AE}" pid="9" name="MSIP_Label_6d5d322d-32bf-4bf5-b158-5f4f2387fdee_ActionId">
    <vt:lpwstr>40198325-1ca4-42ed-acdc-c5fa5db42dd1</vt:lpwstr>
  </property>
  <property fmtid="{D5CDD505-2E9C-101B-9397-08002B2CF9AE}" pid="10" name="MSIP_Label_6d5d322d-32bf-4bf5-b158-5f4f2387fdee_ContentBits">
    <vt:lpwstr>0</vt:lpwstr>
  </property>
</Properties>
</file>